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5"/>
  </p:notesMasterIdLst>
  <p:sldIdLst>
    <p:sldId id="2147477698" r:id="rId5"/>
    <p:sldId id="2147477702" r:id="rId6"/>
    <p:sldId id="2147477722" r:id="rId7"/>
    <p:sldId id="2147477721" r:id="rId8"/>
    <p:sldId id="2147477724" r:id="rId9"/>
    <p:sldId id="2147477725" r:id="rId10"/>
    <p:sldId id="2147477726" r:id="rId11"/>
    <p:sldId id="2147477727" r:id="rId12"/>
    <p:sldId id="2147477730" r:id="rId13"/>
    <p:sldId id="2147477729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ED9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D158D2-4D1A-4366-A4EA-6F086EEB0A17}" v="84" dt="2024-06-10T15:52:18.59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80" d="100"/>
          <a:sy n="80" d="100"/>
        </p:scale>
        <p:origin x="112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u Feng" userId="d25132d2-041e-44b6-b382-5ab6b8c98de4" providerId="ADAL" clId="{32BAC9A7-A3FC-4BB8-A51B-C0D3072C086C}"/>
    <pc:docChg chg="undo custSel addSld delSld modSld">
      <pc:chgData name="Yu Feng" userId="d25132d2-041e-44b6-b382-5ab6b8c98de4" providerId="ADAL" clId="{32BAC9A7-A3FC-4BB8-A51B-C0D3072C086C}" dt="2024-05-29T21:09:55.731" v="5016" actId="20577"/>
      <pc:docMkLst>
        <pc:docMk/>
      </pc:docMkLst>
      <pc:sldChg chg="addSp delSp modSp new mod">
        <pc:chgData name="Yu Feng" userId="d25132d2-041e-44b6-b382-5ab6b8c98de4" providerId="ADAL" clId="{32BAC9A7-A3FC-4BB8-A51B-C0D3072C086C}" dt="2024-05-29T19:10:09.807" v="51" actId="20577"/>
        <pc:sldMkLst>
          <pc:docMk/>
          <pc:sldMk cId="31291486" sldId="256"/>
        </pc:sldMkLst>
        <pc:spChg chg="mod">
          <ac:chgData name="Yu Feng" userId="d25132d2-041e-44b6-b382-5ab6b8c98de4" providerId="ADAL" clId="{32BAC9A7-A3FC-4BB8-A51B-C0D3072C086C}" dt="2024-05-29T19:10:01.848" v="29" actId="20577"/>
          <ac:spMkLst>
            <pc:docMk/>
            <pc:sldMk cId="31291486" sldId="256"/>
            <ac:spMk id="2" creationId="{E6CBAA8A-49E6-B694-45DC-56102DB6738D}"/>
          </ac:spMkLst>
        </pc:spChg>
        <pc:spChg chg="add del mod">
          <ac:chgData name="Yu Feng" userId="d25132d2-041e-44b6-b382-5ab6b8c98de4" providerId="ADAL" clId="{32BAC9A7-A3FC-4BB8-A51B-C0D3072C086C}" dt="2024-05-29T19:10:09.807" v="51" actId="20577"/>
          <ac:spMkLst>
            <pc:docMk/>
            <pc:sldMk cId="31291486" sldId="256"/>
            <ac:spMk id="3" creationId="{C35BDB2B-BEF2-6DAF-31FA-9795738D16E7}"/>
          </ac:spMkLst>
        </pc:spChg>
      </pc:sldChg>
      <pc:sldChg chg="modSp new mod">
        <pc:chgData name="Yu Feng" userId="d25132d2-041e-44b6-b382-5ab6b8c98de4" providerId="ADAL" clId="{32BAC9A7-A3FC-4BB8-A51B-C0D3072C086C}" dt="2024-05-29T19:14:05.186" v="146" actId="20577"/>
        <pc:sldMkLst>
          <pc:docMk/>
          <pc:sldMk cId="715481089" sldId="257"/>
        </pc:sldMkLst>
        <pc:spChg chg="mod">
          <ac:chgData name="Yu Feng" userId="d25132d2-041e-44b6-b382-5ab6b8c98de4" providerId="ADAL" clId="{32BAC9A7-A3FC-4BB8-A51B-C0D3072C086C}" dt="2024-05-29T19:12:27.273" v="66" actId="14100"/>
          <ac:spMkLst>
            <pc:docMk/>
            <pc:sldMk cId="715481089" sldId="257"/>
            <ac:spMk id="2" creationId="{03CC3715-0C16-3A4E-105B-2C264547CA03}"/>
          </ac:spMkLst>
        </pc:spChg>
        <pc:spChg chg="mod">
          <ac:chgData name="Yu Feng" userId="d25132d2-041e-44b6-b382-5ab6b8c98de4" providerId="ADAL" clId="{32BAC9A7-A3FC-4BB8-A51B-C0D3072C086C}" dt="2024-05-29T19:14:05.186" v="146" actId="20577"/>
          <ac:spMkLst>
            <pc:docMk/>
            <pc:sldMk cId="715481089" sldId="257"/>
            <ac:spMk id="3" creationId="{4A6F0FC2-5564-68E2-962E-54E717C9CC52}"/>
          </ac:spMkLst>
        </pc:spChg>
      </pc:sldChg>
      <pc:sldChg chg="modSp new mod">
        <pc:chgData name="Yu Feng" userId="d25132d2-041e-44b6-b382-5ab6b8c98de4" providerId="ADAL" clId="{32BAC9A7-A3FC-4BB8-A51B-C0D3072C086C}" dt="2024-05-29T19:31:18.173" v="1932" actId="12"/>
        <pc:sldMkLst>
          <pc:docMk/>
          <pc:sldMk cId="160064309" sldId="258"/>
        </pc:sldMkLst>
        <pc:spChg chg="mod">
          <ac:chgData name="Yu Feng" userId="d25132d2-041e-44b6-b382-5ab6b8c98de4" providerId="ADAL" clId="{32BAC9A7-A3FC-4BB8-A51B-C0D3072C086C}" dt="2024-05-29T19:16:28.430" v="172" actId="14100"/>
          <ac:spMkLst>
            <pc:docMk/>
            <pc:sldMk cId="160064309" sldId="258"/>
            <ac:spMk id="2" creationId="{6F6C5613-332D-D709-C315-875C5C7C8617}"/>
          </ac:spMkLst>
        </pc:spChg>
        <pc:spChg chg="mod">
          <ac:chgData name="Yu Feng" userId="d25132d2-041e-44b6-b382-5ab6b8c98de4" providerId="ADAL" clId="{32BAC9A7-A3FC-4BB8-A51B-C0D3072C086C}" dt="2024-05-29T19:31:18.173" v="1932" actId="12"/>
          <ac:spMkLst>
            <pc:docMk/>
            <pc:sldMk cId="160064309" sldId="258"/>
            <ac:spMk id="3" creationId="{1B12530B-E938-B287-B692-EE36A676EBD2}"/>
          </ac:spMkLst>
        </pc:spChg>
      </pc:sldChg>
      <pc:sldChg chg="addSp delSp modSp add mod">
        <pc:chgData name="Yu Feng" userId="d25132d2-041e-44b6-b382-5ab6b8c98de4" providerId="ADAL" clId="{32BAC9A7-A3FC-4BB8-A51B-C0D3072C086C}" dt="2024-05-29T19:26:35.615" v="1354" actId="20577"/>
        <pc:sldMkLst>
          <pc:docMk/>
          <pc:sldMk cId="65185252" sldId="259"/>
        </pc:sldMkLst>
        <pc:spChg chg="mod">
          <ac:chgData name="Yu Feng" userId="d25132d2-041e-44b6-b382-5ab6b8c98de4" providerId="ADAL" clId="{32BAC9A7-A3FC-4BB8-A51B-C0D3072C086C}" dt="2024-05-29T19:20:45.927" v="720" actId="20577"/>
          <ac:spMkLst>
            <pc:docMk/>
            <pc:sldMk cId="65185252" sldId="259"/>
            <ac:spMk id="2" creationId="{6F6C5613-332D-D709-C315-875C5C7C8617}"/>
          </ac:spMkLst>
        </pc:spChg>
        <pc:spChg chg="del mod">
          <ac:chgData name="Yu Feng" userId="d25132d2-041e-44b6-b382-5ab6b8c98de4" providerId="ADAL" clId="{32BAC9A7-A3FC-4BB8-A51B-C0D3072C086C}" dt="2024-05-29T19:20:48.633" v="722" actId="478"/>
          <ac:spMkLst>
            <pc:docMk/>
            <pc:sldMk cId="65185252" sldId="259"/>
            <ac:spMk id="3" creationId="{1B12530B-E938-B287-B692-EE36A676EBD2}"/>
          </ac:spMkLst>
        </pc:spChg>
        <pc:spChg chg="add del mod">
          <ac:chgData name="Yu Feng" userId="d25132d2-041e-44b6-b382-5ab6b8c98de4" providerId="ADAL" clId="{32BAC9A7-A3FC-4BB8-A51B-C0D3072C086C}" dt="2024-05-29T19:20:50.256" v="723" actId="478"/>
          <ac:spMkLst>
            <pc:docMk/>
            <pc:sldMk cId="65185252" sldId="259"/>
            <ac:spMk id="5" creationId="{0C2DEA41-AA2E-41B5-987E-37F8EC6EBFAC}"/>
          </ac:spMkLst>
        </pc:spChg>
        <pc:spChg chg="add mod">
          <ac:chgData name="Yu Feng" userId="d25132d2-041e-44b6-b382-5ab6b8c98de4" providerId="ADAL" clId="{32BAC9A7-A3FC-4BB8-A51B-C0D3072C086C}" dt="2024-05-29T19:21:00.948" v="725" actId="13822"/>
          <ac:spMkLst>
            <pc:docMk/>
            <pc:sldMk cId="65185252" sldId="259"/>
            <ac:spMk id="6" creationId="{D5960322-0602-3B2F-849D-B70E160304FD}"/>
          </ac:spMkLst>
        </pc:spChg>
        <pc:spChg chg="add mod">
          <ac:chgData name="Yu Feng" userId="d25132d2-041e-44b6-b382-5ab6b8c98de4" providerId="ADAL" clId="{32BAC9A7-A3FC-4BB8-A51B-C0D3072C086C}" dt="2024-05-29T19:21:21.664" v="742" actId="207"/>
          <ac:spMkLst>
            <pc:docMk/>
            <pc:sldMk cId="65185252" sldId="259"/>
            <ac:spMk id="7" creationId="{7E1A2262-84ED-7A60-33D1-0D019D4DE44F}"/>
          </ac:spMkLst>
        </pc:spChg>
        <pc:spChg chg="add mod">
          <ac:chgData name="Yu Feng" userId="d25132d2-041e-44b6-b382-5ab6b8c98de4" providerId="ADAL" clId="{32BAC9A7-A3FC-4BB8-A51B-C0D3072C086C}" dt="2024-05-29T19:22:34.980" v="877" actId="13822"/>
          <ac:spMkLst>
            <pc:docMk/>
            <pc:sldMk cId="65185252" sldId="259"/>
            <ac:spMk id="8" creationId="{012021B6-4DD8-C95F-6E97-74B4FFA19E1C}"/>
          </ac:spMkLst>
        </pc:spChg>
        <pc:spChg chg="add mod">
          <ac:chgData name="Yu Feng" userId="d25132d2-041e-44b6-b382-5ab6b8c98de4" providerId="ADAL" clId="{32BAC9A7-A3FC-4BB8-A51B-C0D3072C086C}" dt="2024-05-29T19:22:31.756" v="876" actId="13822"/>
          <ac:spMkLst>
            <pc:docMk/>
            <pc:sldMk cId="65185252" sldId="259"/>
            <ac:spMk id="9" creationId="{EFE6ED77-4427-70ED-CD5B-94FD22C2B6A1}"/>
          </ac:spMkLst>
        </pc:spChg>
        <pc:spChg chg="add mod">
          <ac:chgData name="Yu Feng" userId="d25132d2-041e-44b6-b382-5ab6b8c98de4" providerId="ADAL" clId="{32BAC9A7-A3FC-4BB8-A51B-C0D3072C086C}" dt="2024-05-29T19:23:45.612" v="981" actId="20577"/>
          <ac:spMkLst>
            <pc:docMk/>
            <pc:sldMk cId="65185252" sldId="259"/>
            <ac:spMk id="10" creationId="{AA0E48EA-B69C-52F2-31EA-A0929BBE6C21}"/>
          </ac:spMkLst>
        </pc:spChg>
        <pc:spChg chg="add mod">
          <ac:chgData name="Yu Feng" userId="d25132d2-041e-44b6-b382-5ab6b8c98de4" providerId="ADAL" clId="{32BAC9A7-A3FC-4BB8-A51B-C0D3072C086C}" dt="2024-05-29T19:25:43.234" v="1250" actId="20577"/>
          <ac:spMkLst>
            <pc:docMk/>
            <pc:sldMk cId="65185252" sldId="259"/>
            <ac:spMk id="11" creationId="{3E2060D7-32F4-7356-8B1F-D66E5B3EA1B5}"/>
          </ac:spMkLst>
        </pc:spChg>
        <pc:spChg chg="add mod">
          <ac:chgData name="Yu Feng" userId="d25132d2-041e-44b6-b382-5ab6b8c98de4" providerId="ADAL" clId="{32BAC9A7-A3FC-4BB8-A51B-C0D3072C086C}" dt="2024-05-29T19:26:35.615" v="1354" actId="20577"/>
          <ac:spMkLst>
            <pc:docMk/>
            <pc:sldMk cId="65185252" sldId="259"/>
            <ac:spMk id="12" creationId="{78D5B69B-45E1-A933-BFC3-B0E88380E85A}"/>
          </ac:spMkLst>
        </pc:spChg>
      </pc:sldChg>
      <pc:sldChg chg="modSp new mod">
        <pc:chgData name="Yu Feng" userId="d25132d2-041e-44b6-b382-5ab6b8c98de4" providerId="ADAL" clId="{32BAC9A7-A3FC-4BB8-A51B-C0D3072C086C}" dt="2024-05-29T19:43:25.892" v="2291" actId="14100"/>
        <pc:sldMkLst>
          <pc:docMk/>
          <pc:sldMk cId="1713960486" sldId="260"/>
        </pc:sldMkLst>
        <pc:spChg chg="mod">
          <ac:chgData name="Yu Feng" userId="d25132d2-041e-44b6-b382-5ab6b8c98de4" providerId="ADAL" clId="{32BAC9A7-A3FC-4BB8-A51B-C0D3072C086C}" dt="2024-05-29T19:43:25.892" v="2291" actId="14100"/>
          <ac:spMkLst>
            <pc:docMk/>
            <pc:sldMk cId="1713960486" sldId="260"/>
            <ac:spMk id="2" creationId="{1DAE7998-7FC3-009C-68AC-DE53AD5BAD6C}"/>
          </ac:spMkLst>
        </pc:spChg>
        <pc:spChg chg="mod">
          <ac:chgData name="Yu Feng" userId="d25132d2-041e-44b6-b382-5ab6b8c98de4" providerId="ADAL" clId="{32BAC9A7-A3FC-4BB8-A51B-C0D3072C086C}" dt="2024-05-29T19:38:45.459" v="2266" actId="1076"/>
          <ac:spMkLst>
            <pc:docMk/>
            <pc:sldMk cId="1713960486" sldId="260"/>
            <ac:spMk id="3" creationId="{25F59FE5-54C7-4E6D-EE5E-D4516E47EF5F}"/>
          </ac:spMkLst>
        </pc:spChg>
      </pc:sldChg>
      <pc:sldChg chg="modSp new mod">
        <pc:chgData name="Yu Feng" userId="d25132d2-041e-44b6-b382-5ab6b8c98de4" providerId="ADAL" clId="{32BAC9A7-A3FC-4BB8-A51B-C0D3072C086C}" dt="2024-05-29T20:33:56.128" v="4005" actId="20577"/>
        <pc:sldMkLst>
          <pc:docMk/>
          <pc:sldMk cId="3627167451" sldId="261"/>
        </pc:sldMkLst>
        <pc:spChg chg="mod">
          <ac:chgData name="Yu Feng" userId="d25132d2-041e-44b6-b382-5ab6b8c98de4" providerId="ADAL" clId="{32BAC9A7-A3FC-4BB8-A51B-C0D3072C086C}" dt="2024-05-29T20:06:55.577" v="3207" actId="1076"/>
          <ac:spMkLst>
            <pc:docMk/>
            <pc:sldMk cId="3627167451" sldId="261"/>
            <ac:spMk id="2" creationId="{AB5B1F23-65CD-B70D-13FA-1663FAA81AF8}"/>
          </ac:spMkLst>
        </pc:spChg>
        <pc:spChg chg="mod">
          <ac:chgData name="Yu Feng" userId="d25132d2-041e-44b6-b382-5ab6b8c98de4" providerId="ADAL" clId="{32BAC9A7-A3FC-4BB8-A51B-C0D3072C086C}" dt="2024-05-29T20:33:56.128" v="4005" actId="20577"/>
          <ac:spMkLst>
            <pc:docMk/>
            <pc:sldMk cId="3627167451" sldId="261"/>
            <ac:spMk id="3" creationId="{3C6E765B-9FDE-4F76-544D-060679D7F4B2}"/>
          </ac:spMkLst>
        </pc:spChg>
      </pc:sldChg>
      <pc:sldChg chg="modSp add mod">
        <pc:chgData name="Yu Feng" userId="d25132d2-041e-44b6-b382-5ab6b8c98de4" providerId="ADAL" clId="{32BAC9A7-A3FC-4BB8-A51B-C0D3072C086C}" dt="2024-05-29T19:52:26.935" v="3106" actId="20577"/>
        <pc:sldMkLst>
          <pc:docMk/>
          <pc:sldMk cId="3281497157" sldId="262"/>
        </pc:sldMkLst>
        <pc:spChg chg="mod">
          <ac:chgData name="Yu Feng" userId="d25132d2-041e-44b6-b382-5ab6b8c98de4" providerId="ADAL" clId="{32BAC9A7-A3FC-4BB8-A51B-C0D3072C086C}" dt="2024-05-29T19:43:47.593" v="2296" actId="20577"/>
          <ac:spMkLst>
            <pc:docMk/>
            <pc:sldMk cId="3281497157" sldId="262"/>
            <ac:spMk id="2" creationId="{6F6C5613-332D-D709-C315-875C5C7C8617}"/>
          </ac:spMkLst>
        </pc:spChg>
        <pc:spChg chg="mod">
          <ac:chgData name="Yu Feng" userId="d25132d2-041e-44b6-b382-5ab6b8c98de4" providerId="ADAL" clId="{32BAC9A7-A3FC-4BB8-A51B-C0D3072C086C}" dt="2024-05-29T19:52:26.935" v="3106" actId="20577"/>
          <ac:spMkLst>
            <pc:docMk/>
            <pc:sldMk cId="3281497157" sldId="262"/>
            <ac:spMk id="3" creationId="{1B12530B-E938-B287-B692-EE36A676EBD2}"/>
          </ac:spMkLst>
        </pc:spChg>
      </pc:sldChg>
      <pc:sldChg chg="addSp delSp modSp add mod">
        <pc:chgData name="Yu Feng" userId="d25132d2-041e-44b6-b382-5ab6b8c98de4" providerId="ADAL" clId="{32BAC9A7-A3FC-4BB8-A51B-C0D3072C086C}" dt="2024-05-29T20:41:15.740" v="4217" actId="20577"/>
        <pc:sldMkLst>
          <pc:docMk/>
          <pc:sldMk cId="1876887679" sldId="263"/>
        </pc:sldMkLst>
        <pc:spChg chg="mod">
          <ac:chgData name="Yu Feng" userId="d25132d2-041e-44b6-b382-5ab6b8c98de4" providerId="ADAL" clId="{32BAC9A7-A3FC-4BB8-A51B-C0D3072C086C}" dt="2024-05-29T20:34:11.875" v="4007"/>
          <ac:spMkLst>
            <pc:docMk/>
            <pc:sldMk cId="1876887679" sldId="263"/>
            <ac:spMk id="2" creationId="{6F6C5613-332D-D709-C315-875C5C7C8617}"/>
          </ac:spMkLst>
        </pc:spChg>
        <pc:spChg chg="add mod">
          <ac:chgData name="Yu Feng" userId="d25132d2-041e-44b6-b382-5ab6b8c98de4" providerId="ADAL" clId="{32BAC9A7-A3FC-4BB8-A51B-C0D3072C086C}" dt="2024-05-29T20:38:02.012" v="4143" actId="20577"/>
          <ac:spMkLst>
            <pc:docMk/>
            <pc:sldMk cId="1876887679" sldId="263"/>
            <ac:spMk id="3" creationId="{A3056D06-3EB4-9BD1-01A8-8CAA7A60EB3A}"/>
          </ac:spMkLst>
        </pc:spChg>
        <pc:spChg chg="add mod">
          <ac:chgData name="Yu Feng" userId="d25132d2-041e-44b6-b382-5ab6b8c98de4" providerId="ADAL" clId="{32BAC9A7-A3FC-4BB8-A51B-C0D3072C086C}" dt="2024-05-29T20:37:37.818" v="4107" actId="14100"/>
          <ac:spMkLst>
            <pc:docMk/>
            <pc:sldMk cId="1876887679" sldId="263"/>
            <ac:spMk id="4" creationId="{E4988179-9D27-9F8B-43E8-8A7AEFED5082}"/>
          </ac:spMkLst>
        </pc:spChg>
        <pc:spChg chg="add mod">
          <ac:chgData name="Yu Feng" userId="d25132d2-041e-44b6-b382-5ab6b8c98de4" providerId="ADAL" clId="{32BAC9A7-A3FC-4BB8-A51B-C0D3072C086C}" dt="2024-05-29T20:38:00.604" v="4142" actId="1076"/>
          <ac:spMkLst>
            <pc:docMk/>
            <pc:sldMk cId="1876887679" sldId="263"/>
            <ac:spMk id="5" creationId="{66A7B130-2A36-0156-0E50-CEAD35432434}"/>
          </ac:spMkLst>
        </pc:spChg>
        <pc:spChg chg="mod">
          <ac:chgData name="Yu Feng" userId="d25132d2-041e-44b6-b382-5ab6b8c98de4" providerId="ADAL" clId="{32BAC9A7-A3FC-4BB8-A51B-C0D3072C086C}" dt="2024-05-29T20:34:39.265" v="4025" actId="14100"/>
          <ac:spMkLst>
            <pc:docMk/>
            <pc:sldMk cId="1876887679" sldId="263"/>
            <ac:spMk id="7" creationId="{7E1A2262-84ED-7A60-33D1-0D019D4DE44F}"/>
          </ac:spMkLst>
        </pc:spChg>
        <pc:spChg chg="mod">
          <ac:chgData name="Yu Feng" userId="d25132d2-041e-44b6-b382-5ab6b8c98de4" providerId="ADAL" clId="{32BAC9A7-A3FC-4BB8-A51B-C0D3072C086C}" dt="2024-05-29T20:34:57.916" v="4032" actId="1076"/>
          <ac:spMkLst>
            <pc:docMk/>
            <pc:sldMk cId="1876887679" sldId="263"/>
            <ac:spMk id="8" creationId="{012021B6-4DD8-C95F-6E97-74B4FFA19E1C}"/>
          </ac:spMkLst>
        </pc:spChg>
        <pc:spChg chg="mod">
          <ac:chgData name="Yu Feng" userId="d25132d2-041e-44b6-b382-5ab6b8c98de4" providerId="ADAL" clId="{32BAC9A7-A3FC-4BB8-A51B-C0D3072C086C}" dt="2024-05-29T20:34:55.310" v="4031" actId="14100"/>
          <ac:spMkLst>
            <pc:docMk/>
            <pc:sldMk cId="1876887679" sldId="263"/>
            <ac:spMk id="9" creationId="{EFE6ED77-4427-70ED-CD5B-94FD22C2B6A1}"/>
          </ac:spMkLst>
        </pc:spChg>
        <pc:spChg chg="mod">
          <ac:chgData name="Yu Feng" userId="d25132d2-041e-44b6-b382-5ab6b8c98de4" providerId="ADAL" clId="{32BAC9A7-A3FC-4BB8-A51B-C0D3072C086C}" dt="2024-05-29T20:34:44.654" v="4027" actId="14100"/>
          <ac:spMkLst>
            <pc:docMk/>
            <pc:sldMk cId="1876887679" sldId="263"/>
            <ac:spMk id="10" creationId="{AA0E48EA-B69C-52F2-31EA-A0929BBE6C21}"/>
          </ac:spMkLst>
        </pc:spChg>
        <pc:spChg chg="del">
          <ac:chgData name="Yu Feng" userId="d25132d2-041e-44b6-b382-5ab6b8c98de4" providerId="ADAL" clId="{32BAC9A7-A3FC-4BB8-A51B-C0D3072C086C}" dt="2024-05-29T20:34:59.820" v="4033" actId="478"/>
          <ac:spMkLst>
            <pc:docMk/>
            <pc:sldMk cId="1876887679" sldId="263"/>
            <ac:spMk id="11" creationId="{3E2060D7-32F4-7356-8B1F-D66E5B3EA1B5}"/>
          </ac:spMkLst>
        </pc:spChg>
        <pc:spChg chg="del">
          <ac:chgData name="Yu Feng" userId="d25132d2-041e-44b6-b382-5ab6b8c98de4" providerId="ADAL" clId="{32BAC9A7-A3FC-4BB8-A51B-C0D3072C086C}" dt="2024-05-29T20:35:01.007" v="4034" actId="478"/>
          <ac:spMkLst>
            <pc:docMk/>
            <pc:sldMk cId="1876887679" sldId="263"/>
            <ac:spMk id="12" creationId="{78D5B69B-45E1-A933-BFC3-B0E88380E85A}"/>
          </ac:spMkLst>
        </pc:spChg>
        <pc:spChg chg="add mod">
          <ac:chgData name="Yu Feng" userId="d25132d2-041e-44b6-b382-5ab6b8c98de4" providerId="ADAL" clId="{32BAC9A7-A3FC-4BB8-A51B-C0D3072C086C}" dt="2024-05-29T20:37:54.722" v="4139" actId="1076"/>
          <ac:spMkLst>
            <pc:docMk/>
            <pc:sldMk cId="1876887679" sldId="263"/>
            <ac:spMk id="14" creationId="{B8CCE7FF-B659-9D0C-064D-72AC1C908D03}"/>
          </ac:spMkLst>
        </pc:spChg>
        <pc:spChg chg="add mod">
          <ac:chgData name="Yu Feng" userId="d25132d2-041e-44b6-b382-5ab6b8c98de4" providerId="ADAL" clId="{32BAC9A7-A3FC-4BB8-A51B-C0D3072C086C}" dt="2024-05-29T20:39:59.853" v="4153" actId="207"/>
          <ac:spMkLst>
            <pc:docMk/>
            <pc:sldMk cId="1876887679" sldId="263"/>
            <ac:spMk id="15" creationId="{CFD1A157-721E-DDEB-DD39-A1A457883087}"/>
          </ac:spMkLst>
        </pc:spChg>
        <pc:spChg chg="add mod">
          <ac:chgData name="Yu Feng" userId="d25132d2-041e-44b6-b382-5ab6b8c98de4" providerId="ADAL" clId="{32BAC9A7-A3FC-4BB8-A51B-C0D3072C086C}" dt="2024-05-29T20:40:08.596" v="4155"/>
          <ac:spMkLst>
            <pc:docMk/>
            <pc:sldMk cId="1876887679" sldId="263"/>
            <ac:spMk id="16" creationId="{CE478869-452D-CCB2-981D-C32CE31EB122}"/>
          </ac:spMkLst>
        </pc:spChg>
        <pc:spChg chg="add mod">
          <ac:chgData name="Yu Feng" userId="d25132d2-041e-44b6-b382-5ab6b8c98de4" providerId="ADAL" clId="{32BAC9A7-A3FC-4BB8-A51B-C0D3072C086C}" dt="2024-05-29T20:40:47.746" v="4164" actId="571"/>
          <ac:spMkLst>
            <pc:docMk/>
            <pc:sldMk cId="1876887679" sldId="263"/>
            <ac:spMk id="18" creationId="{2BE2CCF9-6404-B7AB-2D90-A5C6156C98C8}"/>
          </ac:spMkLst>
        </pc:spChg>
        <pc:spChg chg="add mod">
          <ac:chgData name="Yu Feng" userId="d25132d2-041e-44b6-b382-5ab6b8c98de4" providerId="ADAL" clId="{32BAC9A7-A3FC-4BB8-A51B-C0D3072C086C}" dt="2024-05-29T20:41:08.525" v="4201" actId="1076"/>
          <ac:spMkLst>
            <pc:docMk/>
            <pc:sldMk cId="1876887679" sldId="263"/>
            <ac:spMk id="21" creationId="{13295C62-0E70-C8CE-E5EE-C2C395357D9B}"/>
          </ac:spMkLst>
        </pc:spChg>
        <pc:spChg chg="add mod">
          <ac:chgData name="Yu Feng" userId="d25132d2-041e-44b6-b382-5ab6b8c98de4" providerId="ADAL" clId="{32BAC9A7-A3FC-4BB8-A51B-C0D3072C086C}" dt="2024-05-29T20:41:15.740" v="4217" actId="20577"/>
          <ac:spMkLst>
            <pc:docMk/>
            <pc:sldMk cId="1876887679" sldId="263"/>
            <ac:spMk id="22" creationId="{CDE72EE0-15D3-81F0-F190-53E3D1793544}"/>
          </ac:spMkLst>
        </pc:spChg>
        <pc:picChg chg="add del mod">
          <ac:chgData name="Yu Feng" userId="d25132d2-041e-44b6-b382-5ab6b8c98de4" providerId="ADAL" clId="{32BAC9A7-A3FC-4BB8-A51B-C0D3072C086C}" dt="2024-05-29T20:36:57.610" v="4101" actId="478"/>
          <ac:picMkLst>
            <pc:docMk/>
            <pc:sldMk cId="1876887679" sldId="263"/>
            <ac:picMk id="13" creationId="{2AA0670E-0230-E185-A4B4-DBA6361DBD64}"/>
          </ac:picMkLst>
        </pc:picChg>
        <pc:picChg chg="add mod">
          <ac:chgData name="Yu Feng" userId="d25132d2-041e-44b6-b382-5ab6b8c98de4" providerId="ADAL" clId="{32BAC9A7-A3FC-4BB8-A51B-C0D3072C086C}" dt="2024-05-29T20:40:43.469" v="4158" actId="1076"/>
          <ac:picMkLst>
            <pc:docMk/>
            <pc:sldMk cId="1876887679" sldId="263"/>
            <ac:picMk id="17" creationId="{62CECECE-77F4-1959-AD43-71DA407570A2}"/>
          </ac:picMkLst>
        </pc:picChg>
        <pc:picChg chg="add del mod">
          <ac:chgData name="Yu Feng" userId="d25132d2-041e-44b6-b382-5ab6b8c98de4" providerId="ADAL" clId="{32BAC9A7-A3FC-4BB8-A51B-C0D3072C086C}" dt="2024-05-29T20:40:46.829" v="4163"/>
          <ac:picMkLst>
            <pc:docMk/>
            <pc:sldMk cId="1876887679" sldId="263"/>
            <ac:picMk id="19" creationId="{887DBFED-E4F1-F8A7-DBB2-44C6FF949FA4}"/>
          </ac:picMkLst>
        </pc:picChg>
        <pc:picChg chg="add mod">
          <ac:chgData name="Yu Feng" userId="d25132d2-041e-44b6-b382-5ab6b8c98de4" providerId="ADAL" clId="{32BAC9A7-A3FC-4BB8-A51B-C0D3072C086C}" dt="2024-05-29T20:40:51.556" v="4166" actId="1076"/>
          <ac:picMkLst>
            <pc:docMk/>
            <pc:sldMk cId="1876887679" sldId="263"/>
            <ac:picMk id="20" creationId="{7C47C9F9-7553-CD05-D3C9-C19ECFE37FA9}"/>
          </ac:picMkLst>
        </pc:picChg>
        <pc:picChg chg="add mod">
          <ac:chgData name="Yu Feng" userId="d25132d2-041e-44b6-b382-5ab6b8c98de4" providerId="ADAL" clId="{32BAC9A7-A3FC-4BB8-A51B-C0D3072C086C}" dt="2024-05-29T20:38:06.555" v="4146" actId="1076"/>
          <ac:picMkLst>
            <pc:docMk/>
            <pc:sldMk cId="1876887679" sldId="263"/>
            <ac:picMk id="1026" creationId="{E59225E4-E5B4-2EC1-DE5F-FE63E8FF89AB}"/>
          </ac:picMkLst>
        </pc:picChg>
        <pc:picChg chg="add mod">
          <ac:chgData name="Yu Feng" userId="d25132d2-041e-44b6-b382-5ab6b8c98de4" providerId="ADAL" clId="{32BAC9A7-A3FC-4BB8-A51B-C0D3072C086C}" dt="2024-05-29T20:37:39.371" v="4108" actId="1076"/>
          <ac:picMkLst>
            <pc:docMk/>
            <pc:sldMk cId="1876887679" sldId="263"/>
            <ac:picMk id="1028" creationId="{9F8DFEA8-E3F7-3E15-3C11-2B5B72E5C7ED}"/>
          </ac:picMkLst>
        </pc:picChg>
      </pc:sldChg>
      <pc:sldChg chg="modSp add del mod">
        <pc:chgData name="Yu Feng" userId="d25132d2-041e-44b6-b382-5ab6b8c98de4" providerId="ADAL" clId="{32BAC9A7-A3FC-4BB8-A51B-C0D3072C086C}" dt="2024-05-29T20:42:56.004" v="4228" actId="47"/>
        <pc:sldMkLst>
          <pc:docMk/>
          <pc:sldMk cId="246620832" sldId="264"/>
        </pc:sldMkLst>
        <pc:spChg chg="mod">
          <ac:chgData name="Yu Feng" userId="d25132d2-041e-44b6-b382-5ab6b8c98de4" providerId="ADAL" clId="{32BAC9A7-A3FC-4BB8-A51B-C0D3072C086C}" dt="2024-05-29T20:42:37.489" v="4227" actId="20577"/>
          <ac:spMkLst>
            <pc:docMk/>
            <pc:sldMk cId="246620832" sldId="264"/>
            <ac:spMk id="2" creationId="{AB5B1F23-65CD-B70D-13FA-1663FAA81AF8}"/>
          </ac:spMkLst>
        </pc:spChg>
      </pc:sldChg>
      <pc:sldChg chg="modSp add mod">
        <pc:chgData name="Yu Feng" userId="d25132d2-041e-44b6-b382-5ab6b8c98de4" providerId="ADAL" clId="{32BAC9A7-A3FC-4BB8-A51B-C0D3072C086C}" dt="2024-05-29T20:47:48.472" v="4792" actId="20577"/>
        <pc:sldMkLst>
          <pc:docMk/>
          <pc:sldMk cId="3693273664" sldId="264"/>
        </pc:sldMkLst>
        <pc:spChg chg="mod">
          <ac:chgData name="Yu Feng" userId="d25132d2-041e-44b6-b382-5ab6b8c98de4" providerId="ADAL" clId="{32BAC9A7-A3FC-4BB8-A51B-C0D3072C086C}" dt="2024-05-29T20:43:21.071" v="4237" actId="20577"/>
          <ac:spMkLst>
            <pc:docMk/>
            <pc:sldMk cId="3693273664" sldId="264"/>
            <ac:spMk id="2" creationId="{6F6C5613-332D-D709-C315-875C5C7C8617}"/>
          </ac:spMkLst>
        </pc:spChg>
        <pc:spChg chg="mod">
          <ac:chgData name="Yu Feng" userId="d25132d2-041e-44b6-b382-5ab6b8c98de4" providerId="ADAL" clId="{32BAC9A7-A3FC-4BB8-A51B-C0D3072C086C}" dt="2024-05-29T20:47:48.472" v="4792" actId="20577"/>
          <ac:spMkLst>
            <pc:docMk/>
            <pc:sldMk cId="3693273664" sldId="264"/>
            <ac:spMk id="3" creationId="{1B12530B-E938-B287-B692-EE36A676EBD2}"/>
          </ac:spMkLst>
        </pc:spChg>
      </pc:sldChg>
      <pc:sldChg chg="modSp add mod">
        <pc:chgData name="Yu Feng" userId="d25132d2-041e-44b6-b382-5ab6b8c98de4" providerId="ADAL" clId="{32BAC9A7-A3FC-4BB8-A51B-C0D3072C086C}" dt="2024-05-29T21:09:55.731" v="5016" actId="20577"/>
        <pc:sldMkLst>
          <pc:docMk/>
          <pc:sldMk cId="260590263" sldId="265"/>
        </pc:sldMkLst>
        <pc:spChg chg="mod">
          <ac:chgData name="Yu Feng" userId="d25132d2-041e-44b6-b382-5ab6b8c98de4" providerId="ADAL" clId="{32BAC9A7-A3FC-4BB8-A51B-C0D3072C086C}" dt="2024-05-29T20:50:25.560" v="4794"/>
          <ac:spMkLst>
            <pc:docMk/>
            <pc:sldMk cId="260590263" sldId="265"/>
            <ac:spMk id="2" creationId="{6F6C5613-332D-D709-C315-875C5C7C8617}"/>
          </ac:spMkLst>
        </pc:spChg>
        <pc:spChg chg="mod">
          <ac:chgData name="Yu Feng" userId="d25132d2-041e-44b6-b382-5ab6b8c98de4" providerId="ADAL" clId="{32BAC9A7-A3FC-4BB8-A51B-C0D3072C086C}" dt="2024-05-29T21:09:55.731" v="5016" actId="20577"/>
          <ac:spMkLst>
            <pc:docMk/>
            <pc:sldMk cId="260590263" sldId="265"/>
            <ac:spMk id="3" creationId="{1B12530B-E938-B287-B692-EE36A676EBD2}"/>
          </ac:spMkLst>
        </pc:spChg>
      </pc:sldChg>
    </pc:docChg>
  </pc:docChgLst>
  <pc:docChgLst>
    <pc:chgData name="Yu Feng" userId="d25132d2-041e-44b6-b382-5ab6b8c98de4" providerId="ADAL" clId="{960A1F05-EFF4-46F7-B896-7E00A7E51FD0}"/>
    <pc:docChg chg="custSel addSld delSld modSld delMainMaster">
      <pc:chgData name="Yu Feng" userId="d25132d2-041e-44b6-b382-5ab6b8c98de4" providerId="ADAL" clId="{960A1F05-EFF4-46F7-B896-7E00A7E51FD0}" dt="2024-06-03T17:20:36.139" v="1708" actId="20577"/>
      <pc:docMkLst>
        <pc:docMk/>
      </pc:docMkLst>
      <pc:sldChg chg="del">
        <pc:chgData name="Yu Feng" userId="d25132d2-041e-44b6-b382-5ab6b8c98de4" providerId="ADAL" clId="{960A1F05-EFF4-46F7-B896-7E00A7E51FD0}" dt="2024-05-31T19:23:03.780" v="1606" actId="47"/>
        <pc:sldMkLst>
          <pc:docMk/>
          <pc:sldMk cId="31291486" sldId="256"/>
        </pc:sldMkLst>
      </pc:sldChg>
      <pc:sldChg chg="del">
        <pc:chgData name="Yu Feng" userId="d25132d2-041e-44b6-b382-5ab6b8c98de4" providerId="ADAL" clId="{960A1F05-EFF4-46F7-B896-7E00A7E51FD0}" dt="2024-05-31T19:23:04.614" v="1607" actId="47"/>
        <pc:sldMkLst>
          <pc:docMk/>
          <pc:sldMk cId="715481089" sldId="257"/>
        </pc:sldMkLst>
      </pc:sldChg>
      <pc:sldChg chg="del">
        <pc:chgData name="Yu Feng" userId="d25132d2-041e-44b6-b382-5ab6b8c98de4" providerId="ADAL" clId="{960A1F05-EFF4-46F7-B896-7E00A7E51FD0}" dt="2024-05-31T19:23:05.445" v="1608" actId="47"/>
        <pc:sldMkLst>
          <pc:docMk/>
          <pc:sldMk cId="160064309" sldId="258"/>
        </pc:sldMkLst>
      </pc:sldChg>
      <pc:sldChg chg="del">
        <pc:chgData name="Yu Feng" userId="d25132d2-041e-44b6-b382-5ab6b8c98de4" providerId="ADAL" clId="{960A1F05-EFF4-46F7-B896-7E00A7E51FD0}" dt="2024-05-31T19:23:06.849" v="1609" actId="47"/>
        <pc:sldMkLst>
          <pc:docMk/>
          <pc:sldMk cId="65185252" sldId="259"/>
        </pc:sldMkLst>
      </pc:sldChg>
      <pc:sldChg chg="del">
        <pc:chgData name="Yu Feng" userId="d25132d2-041e-44b6-b382-5ab6b8c98de4" providerId="ADAL" clId="{960A1F05-EFF4-46F7-B896-7E00A7E51FD0}" dt="2024-05-31T19:23:08.277" v="1610" actId="47"/>
        <pc:sldMkLst>
          <pc:docMk/>
          <pc:sldMk cId="1713960486" sldId="260"/>
        </pc:sldMkLst>
      </pc:sldChg>
      <pc:sldChg chg="del">
        <pc:chgData name="Yu Feng" userId="d25132d2-041e-44b6-b382-5ab6b8c98de4" providerId="ADAL" clId="{960A1F05-EFF4-46F7-B896-7E00A7E51FD0}" dt="2024-05-31T19:23:09.615" v="1612" actId="47"/>
        <pc:sldMkLst>
          <pc:docMk/>
          <pc:sldMk cId="3627167451" sldId="261"/>
        </pc:sldMkLst>
      </pc:sldChg>
      <pc:sldChg chg="del">
        <pc:chgData name="Yu Feng" userId="d25132d2-041e-44b6-b382-5ab6b8c98de4" providerId="ADAL" clId="{960A1F05-EFF4-46F7-B896-7E00A7E51FD0}" dt="2024-05-31T19:23:08.981" v="1611" actId="47"/>
        <pc:sldMkLst>
          <pc:docMk/>
          <pc:sldMk cId="3281497157" sldId="262"/>
        </pc:sldMkLst>
      </pc:sldChg>
      <pc:sldChg chg="del">
        <pc:chgData name="Yu Feng" userId="d25132d2-041e-44b6-b382-5ab6b8c98de4" providerId="ADAL" clId="{960A1F05-EFF4-46F7-B896-7E00A7E51FD0}" dt="2024-05-31T19:23:10.692" v="1613" actId="47"/>
        <pc:sldMkLst>
          <pc:docMk/>
          <pc:sldMk cId="1876887679" sldId="263"/>
        </pc:sldMkLst>
      </pc:sldChg>
      <pc:sldChg chg="del">
        <pc:chgData name="Yu Feng" userId="d25132d2-041e-44b6-b382-5ab6b8c98de4" providerId="ADAL" clId="{960A1F05-EFF4-46F7-B896-7E00A7E51FD0}" dt="2024-05-31T19:23:13.365" v="1614" actId="47"/>
        <pc:sldMkLst>
          <pc:docMk/>
          <pc:sldMk cId="3693273664" sldId="264"/>
        </pc:sldMkLst>
      </pc:sldChg>
      <pc:sldChg chg="del">
        <pc:chgData name="Yu Feng" userId="d25132d2-041e-44b6-b382-5ab6b8c98de4" providerId="ADAL" clId="{960A1F05-EFF4-46F7-B896-7E00A7E51FD0}" dt="2024-05-31T19:23:14.768" v="1615" actId="47"/>
        <pc:sldMkLst>
          <pc:docMk/>
          <pc:sldMk cId="260590263" sldId="265"/>
        </pc:sldMkLst>
      </pc:sldChg>
      <pc:sldChg chg="modSp add del mod">
        <pc:chgData name="Yu Feng" userId="d25132d2-041e-44b6-b382-5ab6b8c98de4" providerId="ADAL" clId="{960A1F05-EFF4-46F7-B896-7E00A7E51FD0}" dt="2024-05-31T19:23:15.770" v="1616" actId="47"/>
        <pc:sldMkLst>
          <pc:docMk/>
          <pc:sldMk cId="760866882" sldId="266"/>
        </pc:sldMkLst>
        <pc:spChg chg="mod">
          <ac:chgData name="Yu Feng" userId="d25132d2-041e-44b6-b382-5ab6b8c98de4" providerId="ADAL" clId="{960A1F05-EFF4-46F7-B896-7E00A7E51FD0}" dt="2024-05-30T15:11:49.210" v="28" actId="20577"/>
          <ac:spMkLst>
            <pc:docMk/>
            <pc:sldMk cId="760866882" sldId="266"/>
            <ac:spMk id="2" creationId="{6F6C5613-332D-D709-C315-875C5C7C8617}"/>
          </ac:spMkLst>
        </pc:spChg>
        <pc:spChg chg="mod">
          <ac:chgData name="Yu Feng" userId="d25132d2-041e-44b6-b382-5ab6b8c98de4" providerId="ADAL" clId="{960A1F05-EFF4-46F7-B896-7E00A7E51FD0}" dt="2024-05-30T15:16:31.497" v="316" actId="313"/>
          <ac:spMkLst>
            <pc:docMk/>
            <pc:sldMk cId="760866882" sldId="266"/>
            <ac:spMk id="3" creationId="{1B12530B-E938-B287-B692-EE36A676EBD2}"/>
          </ac:spMkLst>
        </pc:spChg>
      </pc:sldChg>
      <pc:sldChg chg="addSp delSp modSp new del mod">
        <pc:chgData name="Yu Feng" userId="d25132d2-041e-44b6-b382-5ab6b8c98de4" providerId="ADAL" clId="{960A1F05-EFF4-46F7-B896-7E00A7E51FD0}" dt="2024-05-31T19:23:17.220" v="1617" actId="47"/>
        <pc:sldMkLst>
          <pc:docMk/>
          <pc:sldMk cId="3860062107" sldId="267"/>
        </pc:sldMkLst>
        <pc:spChg chg="mod">
          <ac:chgData name="Yu Feng" userId="d25132d2-041e-44b6-b382-5ab6b8c98de4" providerId="ADAL" clId="{960A1F05-EFF4-46F7-B896-7E00A7E51FD0}" dt="2024-05-30T15:16:51.558" v="347" actId="33524"/>
          <ac:spMkLst>
            <pc:docMk/>
            <pc:sldMk cId="3860062107" sldId="267"/>
            <ac:spMk id="2" creationId="{2947E08C-4424-0F5F-3847-C5A5A94DFDAE}"/>
          </ac:spMkLst>
        </pc:spChg>
        <pc:spChg chg="del">
          <ac:chgData name="Yu Feng" userId="d25132d2-041e-44b6-b382-5ab6b8c98de4" providerId="ADAL" clId="{960A1F05-EFF4-46F7-B896-7E00A7E51FD0}" dt="2024-05-30T15:16:49.200" v="346" actId="478"/>
          <ac:spMkLst>
            <pc:docMk/>
            <pc:sldMk cId="3860062107" sldId="267"/>
            <ac:spMk id="3" creationId="{3A2F7FAA-F173-9829-E2B3-DDE490A77248}"/>
          </ac:spMkLst>
        </pc:spChg>
        <pc:spChg chg="add mod">
          <ac:chgData name="Yu Feng" userId="d25132d2-041e-44b6-b382-5ab6b8c98de4" providerId="ADAL" clId="{960A1F05-EFF4-46F7-B896-7E00A7E51FD0}" dt="2024-05-30T16:08:14.005" v="1560" actId="20577"/>
          <ac:spMkLst>
            <pc:docMk/>
            <pc:sldMk cId="3860062107" sldId="267"/>
            <ac:spMk id="4" creationId="{91615A1A-20AA-E2E7-EEFA-57089B8D4806}"/>
          </ac:spMkLst>
        </pc:spChg>
      </pc:sldChg>
      <pc:sldChg chg="modSp mod">
        <pc:chgData name="Yu Feng" userId="d25132d2-041e-44b6-b382-5ab6b8c98de4" providerId="ADAL" clId="{960A1F05-EFF4-46F7-B896-7E00A7E51FD0}" dt="2024-06-03T17:20:36.139" v="1708" actId="20577"/>
        <pc:sldMkLst>
          <pc:docMk/>
          <pc:sldMk cId="2845888680" sldId="2147477709"/>
        </pc:sldMkLst>
        <pc:spChg chg="mod">
          <ac:chgData name="Yu Feng" userId="d25132d2-041e-44b6-b382-5ab6b8c98de4" providerId="ADAL" clId="{960A1F05-EFF4-46F7-B896-7E00A7E51FD0}" dt="2024-06-03T17:20:36.139" v="1708" actId="20577"/>
          <ac:spMkLst>
            <pc:docMk/>
            <pc:sldMk cId="2845888680" sldId="2147477709"/>
            <ac:spMk id="10" creationId="{AA0E48EA-B69C-52F2-31EA-A0929BBE6C21}"/>
          </ac:spMkLst>
        </pc:spChg>
      </pc:sldChg>
      <pc:sldChg chg="delSp modSp mod">
        <pc:chgData name="Yu Feng" userId="d25132d2-041e-44b6-b382-5ab6b8c98de4" providerId="ADAL" clId="{960A1F05-EFF4-46F7-B896-7E00A7E51FD0}" dt="2024-05-31T19:21:16.210" v="1601"/>
        <pc:sldMkLst>
          <pc:docMk/>
          <pc:sldMk cId="2669358637" sldId="2147477711"/>
        </pc:sldMkLst>
        <pc:spChg chg="mod">
          <ac:chgData name="Yu Feng" userId="d25132d2-041e-44b6-b382-5ab6b8c98de4" providerId="ADAL" clId="{960A1F05-EFF4-46F7-B896-7E00A7E51FD0}" dt="2024-05-31T19:20:38.743" v="1567" actId="20577"/>
          <ac:spMkLst>
            <pc:docMk/>
            <pc:sldMk cId="2669358637" sldId="2147477711"/>
            <ac:spMk id="3" creationId="{1B12530B-E938-B287-B692-EE36A676EBD2}"/>
          </ac:spMkLst>
        </pc:spChg>
        <pc:spChg chg="del mod">
          <ac:chgData name="Yu Feng" userId="d25132d2-041e-44b6-b382-5ab6b8c98de4" providerId="ADAL" clId="{960A1F05-EFF4-46F7-B896-7E00A7E51FD0}" dt="2024-05-31T19:21:16.210" v="1601"/>
          <ac:spMkLst>
            <pc:docMk/>
            <pc:sldMk cId="2669358637" sldId="2147477711"/>
            <ac:spMk id="5" creationId="{E7BCE87F-9114-BA61-16D8-E765A9B10A0D}"/>
          </ac:spMkLst>
        </pc:spChg>
      </pc:sldChg>
      <pc:sldChg chg="modSp new mod">
        <pc:chgData name="Yu Feng" userId="d25132d2-041e-44b6-b382-5ab6b8c98de4" providerId="ADAL" clId="{960A1F05-EFF4-46F7-B896-7E00A7E51FD0}" dt="2024-05-31T19:21:17.097" v="1602"/>
        <pc:sldMkLst>
          <pc:docMk/>
          <pc:sldMk cId="2621425303" sldId="2147477717"/>
        </pc:sldMkLst>
        <pc:spChg chg="mod">
          <ac:chgData name="Yu Feng" userId="d25132d2-041e-44b6-b382-5ab6b8c98de4" providerId="ADAL" clId="{960A1F05-EFF4-46F7-B896-7E00A7E51FD0}" dt="2024-05-31T19:21:17.097" v="1602"/>
          <ac:spMkLst>
            <pc:docMk/>
            <pc:sldMk cId="2621425303" sldId="2147477717"/>
            <ac:spMk id="2" creationId="{FCD93EF6-3123-95E1-7E17-2E2E5DD5FE1B}"/>
          </ac:spMkLst>
        </pc:spChg>
        <pc:spChg chg="mod">
          <ac:chgData name="Yu Feng" userId="d25132d2-041e-44b6-b382-5ab6b8c98de4" providerId="ADAL" clId="{960A1F05-EFF4-46F7-B896-7E00A7E51FD0}" dt="2024-05-31T19:21:12.247" v="1597" actId="20577"/>
          <ac:spMkLst>
            <pc:docMk/>
            <pc:sldMk cId="2621425303" sldId="2147477717"/>
            <ac:spMk id="4" creationId="{A61B6703-C2F2-8A71-C83D-95165FE45ACE}"/>
          </ac:spMkLst>
        </pc:spChg>
      </pc:sldChg>
      <pc:sldChg chg="addSp delSp modSp new mod">
        <pc:chgData name="Yu Feng" userId="d25132d2-041e-44b6-b382-5ab6b8c98de4" providerId="ADAL" clId="{960A1F05-EFF4-46F7-B896-7E00A7E51FD0}" dt="2024-05-31T19:24:20.769" v="1688" actId="20577"/>
        <pc:sldMkLst>
          <pc:docMk/>
          <pc:sldMk cId="28720817" sldId="2147477718"/>
        </pc:sldMkLst>
        <pc:spChg chg="del">
          <ac:chgData name="Yu Feng" userId="d25132d2-041e-44b6-b382-5ab6b8c98de4" providerId="ADAL" clId="{960A1F05-EFF4-46F7-B896-7E00A7E51FD0}" dt="2024-05-31T19:21:26.249" v="1604" actId="478"/>
          <ac:spMkLst>
            <pc:docMk/>
            <pc:sldMk cId="28720817" sldId="2147477718"/>
            <ac:spMk id="2" creationId="{F8CC97BE-854D-C00B-1AE3-ECBC8AAE11BC}"/>
          </ac:spMkLst>
        </pc:spChg>
        <pc:spChg chg="del">
          <ac:chgData name="Yu Feng" userId="d25132d2-041e-44b6-b382-5ab6b8c98de4" providerId="ADAL" clId="{960A1F05-EFF4-46F7-B896-7E00A7E51FD0}" dt="2024-05-31T19:21:27.236" v="1605" actId="478"/>
          <ac:spMkLst>
            <pc:docMk/>
            <pc:sldMk cId="28720817" sldId="2147477718"/>
            <ac:spMk id="4" creationId="{F09969B8-BE17-B2FC-2C1F-339FFB2BE432}"/>
          </ac:spMkLst>
        </pc:spChg>
        <pc:spChg chg="add mod">
          <ac:chgData name="Yu Feng" userId="d25132d2-041e-44b6-b382-5ab6b8c98de4" providerId="ADAL" clId="{960A1F05-EFF4-46F7-B896-7E00A7E51FD0}" dt="2024-05-31T19:24:20.769" v="1688" actId="20577"/>
          <ac:spMkLst>
            <pc:docMk/>
            <pc:sldMk cId="28720817" sldId="2147477718"/>
            <ac:spMk id="7" creationId="{8AE92C75-C30F-3EDB-9C6D-223F1B376096}"/>
          </ac:spMkLst>
        </pc:spChg>
        <pc:picChg chg="add mod">
          <ac:chgData name="Yu Feng" userId="d25132d2-041e-44b6-b382-5ab6b8c98de4" providerId="ADAL" clId="{960A1F05-EFF4-46F7-B896-7E00A7E51FD0}" dt="2024-05-31T19:24:01.783" v="1621" actId="1076"/>
          <ac:picMkLst>
            <pc:docMk/>
            <pc:sldMk cId="28720817" sldId="2147477718"/>
            <ac:picMk id="6" creationId="{1CE23BAB-AD59-5484-28F5-793A9A90DDC9}"/>
          </ac:picMkLst>
        </pc:picChg>
      </pc:sldChg>
      <pc:sldChg chg="delSp modSp new del mod">
        <pc:chgData name="Yu Feng" userId="d25132d2-041e-44b6-b382-5ab6b8c98de4" providerId="ADAL" clId="{960A1F05-EFF4-46F7-B896-7E00A7E51FD0}" dt="2024-05-31T19:20:29.412" v="1565" actId="47"/>
        <pc:sldMkLst>
          <pc:docMk/>
          <pc:sldMk cId="1829902589" sldId="2147477718"/>
        </pc:sldMkLst>
        <pc:spChg chg="del">
          <ac:chgData name="Yu Feng" userId="d25132d2-041e-44b6-b382-5ab6b8c98de4" providerId="ADAL" clId="{960A1F05-EFF4-46F7-B896-7E00A7E51FD0}" dt="2024-05-31T19:20:22.697" v="1564" actId="478"/>
          <ac:spMkLst>
            <pc:docMk/>
            <pc:sldMk cId="1829902589" sldId="2147477718"/>
            <ac:spMk id="2" creationId="{D285483A-867C-1722-4275-BD6BBDFD2ED6}"/>
          </ac:spMkLst>
        </pc:spChg>
        <pc:spChg chg="del mod">
          <ac:chgData name="Yu Feng" userId="d25132d2-041e-44b6-b382-5ab6b8c98de4" providerId="ADAL" clId="{960A1F05-EFF4-46F7-B896-7E00A7E51FD0}" dt="2024-05-31T19:20:21.678" v="1563" actId="478"/>
          <ac:spMkLst>
            <pc:docMk/>
            <pc:sldMk cId="1829902589" sldId="2147477718"/>
            <ac:spMk id="4" creationId="{6FE35E04-83D7-3F51-0272-4C9D14AF765C}"/>
          </ac:spMkLst>
        </pc:spChg>
      </pc:sldChg>
      <pc:sldMasterChg chg="del delSldLayout">
        <pc:chgData name="Yu Feng" userId="d25132d2-041e-44b6-b382-5ab6b8c98de4" providerId="ADAL" clId="{960A1F05-EFF4-46F7-B896-7E00A7E51FD0}" dt="2024-05-31T19:23:17.220" v="1617" actId="47"/>
        <pc:sldMasterMkLst>
          <pc:docMk/>
          <pc:sldMasterMk cId="3592696376" sldId="2147483648"/>
        </pc:sldMasterMkLst>
        <pc:sldLayoutChg chg="del">
          <pc:chgData name="Yu Feng" userId="d25132d2-041e-44b6-b382-5ab6b8c98de4" providerId="ADAL" clId="{960A1F05-EFF4-46F7-B896-7E00A7E51FD0}" dt="2024-05-31T19:23:17.220" v="1617" actId="47"/>
          <pc:sldLayoutMkLst>
            <pc:docMk/>
            <pc:sldMasterMk cId="3592696376" sldId="2147483648"/>
            <pc:sldLayoutMk cId="14565042" sldId="2147483649"/>
          </pc:sldLayoutMkLst>
        </pc:sldLayoutChg>
        <pc:sldLayoutChg chg="del">
          <pc:chgData name="Yu Feng" userId="d25132d2-041e-44b6-b382-5ab6b8c98de4" providerId="ADAL" clId="{960A1F05-EFF4-46F7-B896-7E00A7E51FD0}" dt="2024-05-31T19:23:17.220" v="1617" actId="47"/>
          <pc:sldLayoutMkLst>
            <pc:docMk/>
            <pc:sldMasterMk cId="3592696376" sldId="2147483648"/>
            <pc:sldLayoutMk cId="3104797310" sldId="2147483650"/>
          </pc:sldLayoutMkLst>
        </pc:sldLayoutChg>
        <pc:sldLayoutChg chg="del">
          <pc:chgData name="Yu Feng" userId="d25132d2-041e-44b6-b382-5ab6b8c98de4" providerId="ADAL" clId="{960A1F05-EFF4-46F7-B896-7E00A7E51FD0}" dt="2024-05-31T19:23:17.220" v="1617" actId="47"/>
          <pc:sldLayoutMkLst>
            <pc:docMk/>
            <pc:sldMasterMk cId="3592696376" sldId="2147483648"/>
            <pc:sldLayoutMk cId="656941066" sldId="2147483651"/>
          </pc:sldLayoutMkLst>
        </pc:sldLayoutChg>
        <pc:sldLayoutChg chg="del">
          <pc:chgData name="Yu Feng" userId="d25132d2-041e-44b6-b382-5ab6b8c98de4" providerId="ADAL" clId="{960A1F05-EFF4-46F7-B896-7E00A7E51FD0}" dt="2024-05-31T19:23:17.220" v="1617" actId="47"/>
          <pc:sldLayoutMkLst>
            <pc:docMk/>
            <pc:sldMasterMk cId="3592696376" sldId="2147483648"/>
            <pc:sldLayoutMk cId="505196153" sldId="2147483652"/>
          </pc:sldLayoutMkLst>
        </pc:sldLayoutChg>
        <pc:sldLayoutChg chg="del">
          <pc:chgData name="Yu Feng" userId="d25132d2-041e-44b6-b382-5ab6b8c98de4" providerId="ADAL" clId="{960A1F05-EFF4-46F7-B896-7E00A7E51FD0}" dt="2024-05-31T19:23:17.220" v="1617" actId="47"/>
          <pc:sldLayoutMkLst>
            <pc:docMk/>
            <pc:sldMasterMk cId="3592696376" sldId="2147483648"/>
            <pc:sldLayoutMk cId="2915992851" sldId="2147483653"/>
          </pc:sldLayoutMkLst>
        </pc:sldLayoutChg>
        <pc:sldLayoutChg chg="del">
          <pc:chgData name="Yu Feng" userId="d25132d2-041e-44b6-b382-5ab6b8c98de4" providerId="ADAL" clId="{960A1F05-EFF4-46F7-B896-7E00A7E51FD0}" dt="2024-05-31T19:23:17.220" v="1617" actId="47"/>
          <pc:sldLayoutMkLst>
            <pc:docMk/>
            <pc:sldMasterMk cId="3592696376" sldId="2147483648"/>
            <pc:sldLayoutMk cId="4089941131" sldId="2147483654"/>
          </pc:sldLayoutMkLst>
        </pc:sldLayoutChg>
        <pc:sldLayoutChg chg="del">
          <pc:chgData name="Yu Feng" userId="d25132d2-041e-44b6-b382-5ab6b8c98de4" providerId="ADAL" clId="{960A1F05-EFF4-46F7-B896-7E00A7E51FD0}" dt="2024-05-31T19:23:17.220" v="1617" actId="47"/>
          <pc:sldLayoutMkLst>
            <pc:docMk/>
            <pc:sldMasterMk cId="3592696376" sldId="2147483648"/>
            <pc:sldLayoutMk cId="1296956713" sldId="2147483655"/>
          </pc:sldLayoutMkLst>
        </pc:sldLayoutChg>
        <pc:sldLayoutChg chg="del">
          <pc:chgData name="Yu Feng" userId="d25132d2-041e-44b6-b382-5ab6b8c98de4" providerId="ADAL" clId="{960A1F05-EFF4-46F7-B896-7E00A7E51FD0}" dt="2024-05-31T19:23:17.220" v="1617" actId="47"/>
          <pc:sldLayoutMkLst>
            <pc:docMk/>
            <pc:sldMasterMk cId="3592696376" sldId="2147483648"/>
            <pc:sldLayoutMk cId="716104370" sldId="2147483656"/>
          </pc:sldLayoutMkLst>
        </pc:sldLayoutChg>
        <pc:sldLayoutChg chg="del">
          <pc:chgData name="Yu Feng" userId="d25132d2-041e-44b6-b382-5ab6b8c98de4" providerId="ADAL" clId="{960A1F05-EFF4-46F7-B896-7E00A7E51FD0}" dt="2024-05-31T19:23:17.220" v="1617" actId="47"/>
          <pc:sldLayoutMkLst>
            <pc:docMk/>
            <pc:sldMasterMk cId="3592696376" sldId="2147483648"/>
            <pc:sldLayoutMk cId="435800879" sldId="2147483657"/>
          </pc:sldLayoutMkLst>
        </pc:sldLayoutChg>
        <pc:sldLayoutChg chg="del">
          <pc:chgData name="Yu Feng" userId="d25132d2-041e-44b6-b382-5ab6b8c98de4" providerId="ADAL" clId="{960A1F05-EFF4-46F7-B896-7E00A7E51FD0}" dt="2024-05-31T19:23:17.220" v="1617" actId="47"/>
          <pc:sldLayoutMkLst>
            <pc:docMk/>
            <pc:sldMasterMk cId="3592696376" sldId="2147483648"/>
            <pc:sldLayoutMk cId="3882078074" sldId="2147483658"/>
          </pc:sldLayoutMkLst>
        </pc:sldLayoutChg>
        <pc:sldLayoutChg chg="del">
          <pc:chgData name="Yu Feng" userId="d25132d2-041e-44b6-b382-5ab6b8c98de4" providerId="ADAL" clId="{960A1F05-EFF4-46F7-B896-7E00A7E51FD0}" dt="2024-05-31T19:23:17.220" v="1617" actId="47"/>
          <pc:sldLayoutMkLst>
            <pc:docMk/>
            <pc:sldMasterMk cId="3592696376" sldId="2147483648"/>
            <pc:sldLayoutMk cId="1282358399" sldId="2147483659"/>
          </pc:sldLayoutMkLst>
        </pc:sldLayoutChg>
      </pc:sldMasterChg>
    </pc:docChg>
  </pc:docChgLst>
  <pc:docChgLst>
    <pc:chgData name="Yu Feng" userId="d25132d2-041e-44b6-b382-5ab6b8c98de4" providerId="ADAL" clId="{D5D158D2-4D1A-4366-A4EA-6F086EEB0A17}"/>
    <pc:docChg chg="custSel addSld delSld modSld">
      <pc:chgData name="Yu Feng" userId="d25132d2-041e-44b6-b382-5ab6b8c98de4" providerId="ADAL" clId="{D5D158D2-4D1A-4366-A4EA-6F086EEB0A17}" dt="2024-06-10T17:13:11.540" v="723" actId="14100"/>
      <pc:docMkLst>
        <pc:docMk/>
      </pc:docMkLst>
      <pc:sldChg chg="modSp mod">
        <pc:chgData name="Yu Feng" userId="d25132d2-041e-44b6-b382-5ab6b8c98de4" providerId="ADAL" clId="{D5D158D2-4D1A-4366-A4EA-6F086EEB0A17}" dt="2024-06-10T14:00:47.318" v="16" actId="20577"/>
        <pc:sldMkLst>
          <pc:docMk/>
          <pc:sldMk cId="1908266377" sldId="2147477698"/>
        </pc:sldMkLst>
        <pc:spChg chg="mod">
          <ac:chgData name="Yu Feng" userId="d25132d2-041e-44b6-b382-5ab6b8c98de4" providerId="ADAL" clId="{D5D158D2-4D1A-4366-A4EA-6F086EEB0A17}" dt="2024-06-10T14:00:47.318" v="16" actId="20577"/>
          <ac:spMkLst>
            <pc:docMk/>
            <pc:sldMk cId="1908266377" sldId="2147477698"/>
            <ac:spMk id="3" creationId="{EA7078CC-F422-DB4A-0767-9F7E4B53C623}"/>
          </ac:spMkLst>
        </pc:spChg>
      </pc:sldChg>
      <pc:sldChg chg="modSp mod">
        <pc:chgData name="Yu Feng" userId="d25132d2-041e-44b6-b382-5ab6b8c98de4" providerId="ADAL" clId="{D5D158D2-4D1A-4366-A4EA-6F086EEB0A17}" dt="2024-06-10T14:01:00.744" v="18" actId="20577"/>
        <pc:sldMkLst>
          <pc:docMk/>
          <pc:sldMk cId="3140413803" sldId="2147477702"/>
        </pc:sldMkLst>
        <pc:spChg chg="mod">
          <ac:chgData name="Yu Feng" userId="d25132d2-041e-44b6-b382-5ab6b8c98de4" providerId="ADAL" clId="{D5D158D2-4D1A-4366-A4EA-6F086EEB0A17}" dt="2024-06-10T14:01:00.744" v="18" actId="20577"/>
          <ac:spMkLst>
            <pc:docMk/>
            <pc:sldMk cId="3140413803" sldId="2147477702"/>
            <ac:spMk id="7" creationId="{BA6E78AA-45B4-F54F-7DB7-978845B16AC6}"/>
          </ac:spMkLst>
        </pc:spChg>
      </pc:sldChg>
      <pc:sldChg chg="modSp mod">
        <pc:chgData name="Yu Feng" userId="d25132d2-041e-44b6-b382-5ab6b8c98de4" providerId="ADAL" clId="{D5D158D2-4D1A-4366-A4EA-6F086EEB0A17}" dt="2024-06-10T16:02:35.016" v="720" actId="20577"/>
        <pc:sldMkLst>
          <pc:docMk/>
          <pc:sldMk cId="3989729832" sldId="2147477722"/>
        </pc:sldMkLst>
        <pc:spChg chg="mod">
          <ac:chgData name="Yu Feng" userId="d25132d2-041e-44b6-b382-5ab6b8c98de4" providerId="ADAL" clId="{D5D158D2-4D1A-4366-A4EA-6F086EEB0A17}" dt="2024-06-10T16:02:35.016" v="720" actId="20577"/>
          <ac:spMkLst>
            <pc:docMk/>
            <pc:sldMk cId="3989729832" sldId="2147477722"/>
            <ac:spMk id="2" creationId="{6B14335E-7A40-5CA0-5D22-CD04AB0E94C7}"/>
          </ac:spMkLst>
        </pc:spChg>
        <pc:spChg chg="mod">
          <ac:chgData name="Yu Feng" userId="d25132d2-041e-44b6-b382-5ab6b8c98de4" providerId="ADAL" clId="{D5D158D2-4D1A-4366-A4EA-6F086EEB0A17}" dt="2024-06-10T16:02:19.327" v="678" actId="20577"/>
          <ac:spMkLst>
            <pc:docMk/>
            <pc:sldMk cId="3989729832" sldId="2147477722"/>
            <ac:spMk id="4" creationId="{B9174876-0F06-9457-157C-51A86CF0FF83}"/>
          </ac:spMkLst>
        </pc:spChg>
      </pc:sldChg>
      <pc:sldChg chg="modSp mod">
        <pc:chgData name="Yu Feng" userId="d25132d2-041e-44b6-b382-5ab6b8c98de4" providerId="ADAL" clId="{D5D158D2-4D1A-4366-A4EA-6F086EEB0A17}" dt="2024-06-10T16:02:55.957" v="721"/>
        <pc:sldMkLst>
          <pc:docMk/>
          <pc:sldMk cId="2247840355" sldId="2147477727"/>
        </pc:sldMkLst>
        <pc:spChg chg="mod">
          <ac:chgData name="Yu Feng" userId="d25132d2-041e-44b6-b382-5ab6b8c98de4" providerId="ADAL" clId="{D5D158D2-4D1A-4366-A4EA-6F086EEB0A17}" dt="2024-06-10T16:02:55.957" v="721"/>
          <ac:spMkLst>
            <pc:docMk/>
            <pc:sldMk cId="2247840355" sldId="2147477727"/>
            <ac:spMk id="2" creationId="{6B14335E-7A40-5CA0-5D22-CD04AB0E94C7}"/>
          </ac:spMkLst>
        </pc:spChg>
      </pc:sldChg>
      <pc:sldChg chg="addSp delSp modSp del mod">
        <pc:chgData name="Yu Feng" userId="d25132d2-041e-44b6-b382-5ab6b8c98de4" providerId="ADAL" clId="{D5D158D2-4D1A-4366-A4EA-6F086EEB0A17}" dt="2024-06-10T14:19:00.173" v="24" actId="47"/>
        <pc:sldMkLst>
          <pc:docMk/>
          <pc:sldMk cId="235553219" sldId="2147477728"/>
        </pc:sldMkLst>
        <pc:spChg chg="add del mod">
          <ac:chgData name="Yu Feng" userId="d25132d2-041e-44b6-b382-5ab6b8c98de4" providerId="ADAL" clId="{D5D158D2-4D1A-4366-A4EA-6F086EEB0A17}" dt="2024-06-10T14:13:33.015" v="21" actId="478"/>
          <ac:spMkLst>
            <pc:docMk/>
            <pc:sldMk cId="235553219" sldId="2147477728"/>
            <ac:spMk id="2" creationId="{9AEE08C0-0B8A-E814-4E89-FF255C66DEE7}"/>
          </ac:spMkLst>
        </pc:spChg>
        <pc:spChg chg="add mod">
          <ac:chgData name="Yu Feng" userId="d25132d2-041e-44b6-b382-5ab6b8c98de4" providerId="ADAL" clId="{D5D158D2-4D1A-4366-A4EA-6F086EEB0A17}" dt="2024-06-10T14:13:34.187" v="22"/>
          <ac:spMkLst>
            <pc:docMk/>
            <pc:sldMk cId="235553219" sldId="2147477728"/>
            <ac:spMk id="5" creationId="{416248B9-7FA9-ECF4-26C3-87AEEEC699F7}"/>
          </ac:spMkLst>
        </pc:spChg>
        <pc:graphicFrameChg chg="add mod">
          <ac:chgData name="Yu Feng" userId="d25132d2-041e-44b6-b382-5ab6b8c98de4" providerId="ADAL" clId="{D5D158D2-4D1A-4366-A4EA-6F086EEB0A17}" dt="2024-06-10T14:13:34.187" v="22"/>
          <ac:graphicFrameMkLst>
            <pc:docMk/>
            <pc:sldMk cId="235553219" sldId="2147477728"/>
            <ac:graphicFrameMk id="6" creationId="{A8603E51-8B3D-9EB0-105D-1F457E0C5A1E}"/>
          </ac:graphicFrameMkLst>
        </pc:graphicFrameChg>
        <pc:picChg chg="add mod">
          <ac:chgData name="Yu Feng" userId="d25132d2-041e-44b6-b382-5ab6b8c98de4" providerId="ADAL" clId="{D5D158D2-4D1A-4366-A4EA-6F086EEB0A17}" dt="2024-06-10T14:13:34.187" v="22"/>
          <ac:picMkLst>
            <pc:docMk/>
            <pc:sldMk cId="235553219" sldId="2147477728"/>
            <ac:picMk id="7" creationId="{730404C1-CADB-1C78-CD47-76108FFE0FD2}"/>
          </ac:picMkLst>
        </pc:picChg>
        <pc:picChg chg="add mod">
          <ac:chgData name="Yu Feng" userId="d25132d2-041e-44b6-b382-5ab6b8c98de4" providerId="ADAL" clId="{D5D158D2-4D1A-4366-A4EA-6F086EEB0A17}" dt="2024-06-10T14:13:34.187" v="22"/>
          <ac:picMkLst>
            <pc:docMk/>
            <pc:sldMk cId="235553219" sldId="2147477728"/>
            <ac:picMk id="8" creationId="{A8AC60D6-1DCC-CDA6-B263-CCBF29A70130}"/>
          </ac:picMkLst>
        </pc:picChg>
        <pc:picChg chg="add mod">
          <ac:chgData name="Yu Feng" userId="d25132d2-041e-44b6-b382-5ab6b8c98de4" providerId="ADAL" clId="{D5D158D2-4D1A-4366-A4EA-6F086EEB0A17}" dt="2024-06-10T14:13:34.187" v="22"/>
          <ac:picMkLst>
            <pc:docMk/>
            <pc:sldMk cId="235553219" sldId="2147477728"/>
            <ac:picMk id="9" creationId="{3E61D31D-F1E9-D090-7C93-D640590B3845}"/>
          </ac:picMkLst>
        </pc:picChg>
        <pc:picChg chg="add mod">
          <ac:chgData name="Yu Feng" userId="d25132d2-041e-44b6-b382-5ab6b8c98de4" providerId="ADAL" clId="{D5D158D2-4D1A-4366-A4EA-6F086EEB0A17}" dt="2024-06-10T14:13:34.187" v="22"/>
          <ac:picMkLst>
            <pc:docMk/>
            <pc:sldMk cId="235553219" sldId="2147477728"/>
            <ac:picMk id="10" creationId="{84C62A68-9553-7988-F498-FC7E510366B6}"/>
          </ac:picMkLst>
        </pc:picChg>
        <pc:picChg chg="add mod">
          <ac:chgData name="Yu Feng" userId="d25132d2-041e-44b6-b382-5ab6b8c98de4" providerId="ADAL" clId="{D5D158D2-4D1A-4366-A4EA-6F086EEB0A17}" dt="2024-06-10T14:13:34.187" v="22"/>
          <ac:picMkLst>
            <pc:docMk/>
            <pc:sldMk cId="235553219" sldId="2147477728"/>
            <ac:picMk id="11" creationId="{C336A86F-DF94-F897-A498-A524692A6753}"/>
          </ac:picMkLst>
        </pc:picChg>
      </pc:sldChg>
      <pc:sldChg chg="addSp delSp modSp mod">
        <pc:chgData name="Yu Feng" userId="d25132d2-041e-44b6-b382-5ab6b8c98de4" providerId="ADAL" clId="{D5D158D2-4D1A-4366-A4EA-6F086EEB0A17}" dt="2024-06-10T17:13:11.540" v="723" actId="14100"/>
        <pc:sldMkLst>
          <pc:docMk/>
          <pc:sldMk cId="785469045" sldId="2147477729"/>
        </pc:sldMkLst>
        <pc:spChg chg="add mod">
          <ac:chgData name="Yu Feng" userId="d25132d2-041e-44b6-b382-5ab6b8c98de4" providerId="ADAL" clId="{D5D158D2-4D1A-4366-A4EA-6F086EEB0A17}" dt="2024-06-10T15:50:03.379" v="617" actId="692"/>
          <ac:spMkLst>
            <pc:docMk/>
            <pc:sldMk cId="785469045" sldId="2147477729"/>
            <ac:spMk id="6" creationId="{33DD44E3-F7AB-959F-C7CE-CF6C259B9B7C}"/>
          </ac:spMkLst>
        </pc:spChg>
        <pc:spChg chg="add mod">
          <ac:chgData name="Yu Feng" userId="d25132d2-041e-44b6-b382-5ab6b8c98de4" providerId="ADAL" clId="{D5D158D2-4D1A-4366-A4EA-6F086EEB0A17}" dt="2024-06-10T15:51:53.817" v="627" actId="1076"/>
          <ac:spMkLst>
            <pc:docMk/>
            <pc:sldMk cId="785469045" sldId="2147477729"/>
            <ac:spMk id="7" creationId="{D5FF0B61-DE69-BA96-C4D7-2B4848DB3501}"/>
          </ac:spMkLst>
        </pc:spChg>
        <pc:spChg chg="add mod">
          <ac:chgData name="Yu Feng" userId="d25132d2-041e-44b6-b382-5ab6b8c98de4" providerId="ADAL" clId="{D5D158D2-4D1A-4366-A4EA-6F086EEB0A17}" dt="2024-06-10T15:54:07.655" v="651" actId="1076"/>
          <ac:spMkLst>
            <pc:docMk/>
            <pc:sldMk cId="785469045" sldId="2147477729"/>
            <ac:spMk id="10" creationId="{8125815D-3F88-A584-1C5D-5EAAFA17E514}"/>
          </ac:spMkLst>
        </pc:spChg>
        <pc:graphicFrameChg chg="add del mod modGraphic">
          <ac:chgData name="Yu Feng" userId="d25132d2-041e-44b6-b382-5ab6b8c98de4" providerId="ADAL" clId="{D5D158D2-4D1A-4366-A4EA-6F086EEB0A17}" dt="2024-06-10T15:21:51.016" v="516" actId="478"/>
          <ac:graphicFrameMkLst>
            <pc:docMk/>
            <pc:sldMk cId="785469045" sldId="2147477729"/>
            <ac:graphicFrameMk id="2" creationId="{79318BE2-7CD9-B424-9367-4CF7E662AE20}"/>
          </ac:graphicFrameMkLst>
        </pc:graphicFrameChg>
        <pc:graphicFrameChg chg="add mod modGraphic">
          <ac:chgData name="Yu Feng" userId="d25132d2-041e-44b6-b382-5ab6b8c98de4" providerId="ADAL" clId="{D5D158D2-4D1A-4366-A4EA-6F086EEB0A17}" dt="2024-06-10T17:13:11.540" v="723" actId="14100"/>
          <ac:graphicFrameMkLst>
            <pc:docMk/>
            <pc:sldMk cId="785469045" sldId="2147477729"/>
            <ac:graphicFrameMk id="5" creationId="{B6FD0564-9557-538F-25A7-90ED1F850161}"/>
          </ac:graphicFrameMkLst>
        </pc:graphicFrameChg>
        <pc:cxnChg chg="add mod">
          <ac:chgData name="Yu Feng" userId="d25132d2-041e-44b6-b382-5ab6b8c98de4" providerId="ADAL" clId="{D5D158D2-4D1A-4366-A4EA-6F086EEB0A17}" dt="2024-06-10T15:54:09.631" v="652" actId="14100"/>
          <ac:cxnSpMkLst>
            <pc:docMk/>
            <pc:sldMk cId="785469045" sldId="2147477729"/>
            <ac:cxnSpMk id="9" creationId="{C5120B2E-0146-7AC5-7740-8398C95CC570}"/>
          </ac:cxnSpMkLst>
        </pc:cxnChg>
      </pc:sldChg>
      <pc:sldChg chg="addSp delSp modSp add mod">
        <pc:chgData name="Yu Feng" userId="d25132d2-041e-44b6-b382-5ab6b8c98de4" providerId="ADAL" clId="{D5D158D2-4D1A-4366-A4EA-6F086EEB0A17}" dt="2024-06-10T15:05:36.835" v="513" actId="313"/>
        <pc:sldMkLst>
          <pc:docMk/>
          <pc:sldMk cId="695462917" sldId="2147477730"/>
        </pc:sldMkLst>
        <pc:spChg chg="add del mod">
          <ac:chgData name="Yu Feng" userId="d25132d2-041e-44b6-b382-5ab6b8c98de4" providerId="ADAL" clId="{D5D158D2-4D1A-4366-A4EA-6F086EEB0A17}" dt="2024-06-10T14:19:11.033" v="26" actId="478"/>
          <ac:spMkLst>
            <pc:docMk/>
            <pc:sldMk cId="695462917" sldId="2147477730"/>
            <ac:spMk id="12" creationId="{296DA371-57C3-BB8C-BF79-AEBE4DD14E81}"/>
          </ac:spMkLst>
        </pc:spChg>
        <pc:spChg chg="add del mod">
          <ac:chgData name="Yu Feng" userId="d25132d2-041e-44b6-b382-5ab6b8c98de4" providerId="ADAL" clId="{D5D158D2-4D1A-4366-A4EA-6F086EEB0A17}" dt="2024-06-10T14:19:36.594" v="29" actId="478"/>
          <ac:spMkLst>
            <pc:docMk/>
            <pc:sldMk cId="695462917" sldId="2147477730"/>
            <ac:spMk id="13" creationId="{CF86B987-F159-A3F1-3767-6F307FD8738B}"/>
          </ac:spMkLst>
        </pc:spChg>
        <pc:graphicFrameChg chg="del">
          <ac:chgData name="Yu Feng" userId="d25132d2-041e-44b6-b382-5ab6b8c98de4" providerId="ADAL" clId="{D5D158D2-4D1A-4366-A4EA-6F086EEB0A17}" dt="2024-06-10T14:19:09.238" v="25" actId="478"/>
          <ac:graphicFrameMkLst>
            <pc:docMk/>
            <pc:sldMk cId="695462917" sldId="2147477730"/>
            <ac:graphicFrameMk id="6" creationId="{A8603E51-8B3D-9EB0-105D-1F457E0C5A1E}"/>
          </ac:graphicFrameMkLst>
        </pc:graphicFrameChg>
        <pc:graphicFrameChg chg="add mod modGraphic">
          <ac:chgData name="Yu Feng" userId="d25132d2-041e-44b6-b382-5ab6b8c98de4" providerId="ADAL" clId="{D5D158D2-4D1A-4366-A4EA-6F086EEB0A17}" dt="2024-06-10T15:05:36.835" v="513" actId="313"/>
          <ac:graphicFrameMkLst>
            <pc:docMk/>
            <pc:sldMk cId="695462917" sldId="2147477730"/>
            <ac:graphicFrameMk id="14" creationId="{41ACC294-EF25-A6A4-3234-BC602C7A3FA1}"/>
          </ac:graphicFrameMkLst>
        </pc:graphicFrameChg>
        <pc:picChg chg="del">
          <ac:chgData name="Yu Feng" userId="d25132d2-041e-44b6-b382-5ab6b8c98de4" providerId="ADAL" clId="{D5D158D2-4D1A-4366-A4EA-6F086EEB0A17}" dt="2024-06-10T14:19:12.684" v="27" actId="478"/>
          <ac:picMkLst>
            <pc:docMk/>
            <pc:sldMk cId="695462917" sldId="2147477730"/>
            <ac:picMk id="7" creationId="{730404C1-CADB-1C78-CD47-76108FFE0FD2}"/>
          </ac:picMkLst>
        </pc:picChg>
        <pc:picChg chg="del">
          <ac:chgData name="Yu Feng" userId="d25132d2-041e-44b6-b382-5ab6b8c98de4" providerId="ADAL" clId="{D5D158D2-4D1A-4366-A4EA-6F086EEB0A17}" dt="2024-06-10T14:19:12.684" v="27" actId="478"/>
          <ac:picMkLst>
            <pc:docMk/>
            <pc:sldMk cId="695462917" sldId="2147477730"/>
            <ac:picMk id="8" creationId="{A8AC60D6-1DCC-CDA6-B263-CCBF29A70130}"/>
          </ac:picMkLst>
        </pc:picChg>
        <pc:picChg chg="del">
          <ac:chgData name="Yu Feng" userId="d25132d2-041e-44b6-b382-5ab6b8c98de4" providerId="ADAL" clId="{D5D158D2-4D1A-4366-A4EA-6F086EEB0A17}" dt="2024-06-10T14:19:12.684" v="27" actId="478"/>
          <ac:picMkLst>
            <pc:docMk/>
            <pc:sldMk cId="695462917" sldId="2147477730"/>
            <ac:picMk id="9" creationId="{3E61D31D-F1E9-D090-7C93-D640590B3845}"/>
          </ac:picMkLst>
        </pc:picChg>
        <pc:picChg chg="del">
          <ac:chgData name="Yu Feng" userId="d25132d2-041e-44b6-b382-5ab6b8c98de4" providerId="ADAL" clId="{D5D158D2-4D1A-4366-A4EA-6F086EEB0A17}" dt="2024-06-10T14:19:12.684" v="27" actId="478"/>
          <ac:picMkLst>
            <pc:docMk/>
            <pc:sldMk cId="695462917" sldId="2147477730"/>
            <ac:picMk id="10" creationId="{84C62A68-9553-7988-F498-FC7E510366B6}"/>
          </ac:picMkLst>
        </pc:picChg>
        <pc:picChg chg="del">
          <ac:chgData name="Yu Feng" userId="d25132d2-041e-44b6-b382-5ab6b8c98de4" providerId="ADAL" clId="{D5D158D2-4D1A-4366-A4EA-6F086EEB0A17}" dt="2024-06-10T14:19:12.684" v="27" actId="478"/>
          <ac:picMkLst>
            <pc:docMk/>
            <pc:sldMk cId="695462917" sldId="2147477730"/>
            <ac:picMk id="11" creationId="{C336A86F-DF94-F897-A498-A524692A6753}"/>
          </ac:picMkLst>
        </pc:picChg>
      </pc:sldChg>
    </pc:docChg>
  </pc:docChgLst>
  <pc:docChgLst>
    <pc:chgData name="Sasha Fay" userId="c632a18a-74fe-4787-b694-0afebe47ca1f" providerId="ADAL" clId="{679324A2-DAD8-4919-A61C-65663129C89D}"/>
    <pc:docChg chg="undo redo custSel addSld delSld modSld sldOrd">
      <pc:chgData name="Sasha Fay" userId="c632a18a-74fe-4787-b694-0afebe47ca1f" providerId="ADAL" clId="{679324A2-DAD8-4919-A61C-65663129C89D}" dt="2024-05-31T19:20:51.906" v="2859" actId="20577"/>
      <pc:docMkLst>
        <pc:docMk/>
      </pc:docMkLst>
      <pc:sldChg chg="ord">
        <pc:chgData name="Sasha Fay" userId="c632a18a-74fe-4787-b694-0afebe47ca1f" providerId="ADAL" clId="{679324A2-DAD8-4919-A61C-65663129C89D}" dt="2024-05-31T17:17:45.743" v="2"/>
        <pc:sldMkLst>
          <pc:docMk/>
          <pc:sldMk cId="31291486" sldId="256"/>
        </pc:sldMkLst>
      </pc:sldChg>
      <pc:sldChg chg="addSp modSp add mod modClrScheme chgLayout">
        <pc:chgData name="Sasha Fay" userId="c632a18a-74fe-4787-b694-0afebe47ca1f" providerId="ADAL" clId="{679324A2-DAD8-4919-A61C-65663129C89D}" dt="2024-05-31T19:20:51.906" v="2859" actId="20577"/>
        <pc:sldMkLst>
          <pc:docMk/>
          <pc:sldMk cId="1908266377" sldId="2147477698"/>
        </pc:sldMkLst>
        <pc:spChg chg="mod ord">
          <ac:chgData name="Sasha Fay" userId="c632a18a-74fe-4787-b694-0afebe47ca1f" providerId="ADAL" clId="{679324A2-DAD8-4919-A61C-65663129C89D}" dt="2024-05-31T17:17:57.285" v="22" actId="20577"/>
          <ac:spMkLst>
            <pc:docMk/>
            <pc:sldMk cId="1908266377" sldId="2147477698"/>
            <ac:spMk id="2" creationId="{F3768933-15EF-1018-A257-30CD5B991BCE}"/>
          </ac:spMkLst>
        </pc:spChg>
        <pc:spChg chg="add mod">
          <ac:chgData name="Sasha Fay" userId="c632a18a-74fe-4787-b694-0afebe47ca1f" providerId="ADAL" clId="{679324A2-DAD8-4919-A61C-65663129C89D}" dt="2024-05-31T19:20:51.906" v="2859" actId="20577"/>
          <ac:spMkLst>
            <pc:docMk/>
            <pc:sldMk cId="1908266377" sldId="2147477698"/>
            <ac:spMk id="3" creationId="{EA7078CC-F422-DB4A-0767-9F7E4B53C623}"/>
          </ac:spMkLst>
        </pc:spChg>
      </pc:sldChg>
      <pc:sldChg chg="add del">
        <pc:chgData name="Sasha Fay" userId="c632a18a-74fe-4787-b694-0afebe47ca1f" providerId="ADAL" clId="{679324A2-DAD8-4919-A61C-65663129C89D}" dt="2024-05-31T19:02:03.241" v="2810" actId="47"/>
        <pc:sldMkLst>
          <pc:docMk/>
          <pc:sldMk cId="1633499205" sldId="2147477700"/>
        </pc:sldMkLst>
      </pc:sldChg>
      <pc:sldChg chg="add del">
        <pc:chgData name="Sasha Fay" userId="c632a18a-74fe-4787-b694-0afebe47ca1f" providerId="ADAL" clId="{679324A2-DAD8-4919-A61C-65663129C89D}" dt="2024-05-31T19:02:03.241" v="2810" actId="47"/>
        <pc:sldMkLst>
          <pc:docMk/>
          <pc:sldMk cId="4059586194" sldId="2147477701"/>
        </pc:sldMkLst>
      </pc:sldChg>
      <pc:sldChg chg="addSp delSp modSp new mod modClrScheme chgLayout">
        <pc:chgData name="Sasha Fay" userId="c632a18a-74fe-4787-b694-0afebe47ca1f" providerId="ADAL" clId="{679324A2-DAD8-4919-A61C-65663129C89D}" dt="2024-05-31T18:56:15.945" v="2604" actId="20577"/>
        <pc:sldMkLst>
          <pc:docMk/>
          <pc:sldMk cId="3140413803" sldId="2147477702"/>
        </pc:sldMkLst>
        <pc:spChg chg="del mod ord">
          <ac:chgData name="Sasha Fay" userId="c632a18a-74fe-4787-b694-0afebe47ca1f" providerId="ADAL" clId="{679324A2-DAD8-4919-A61C-65663129C89D}" dt="2024-05-31T17:18:13.491" v="24" actId="700"/>
          <ac:spMkLst>
            <pc:docMk/>
            <pc:sldMk cId="3140413803" sldId="2147477702"/>
            <ac:spMk id="2" creationId="{E0DE6482-3295-88FC-134E-8AD4D60F4AE9}"/>
          </ac:spMkLst>
        </pc:spChg>
        <pc:spChg chg="add del mod ord">
          <ac:chgData name="Sasha Fay" userId="c632a18a-74fe-4787-b694-0afebe47ca1f" providerId="ADAL" clId="{679324A2-DAD8-4919-A61C-65663129C89D}" dt="2024-05-31T17:18:17.155" v="25" actId="700"/>
          <ac:spMkLst>
            <pc:docMk/>
            <pc:sldMk cId="3140413803" sldId="2147477702"/>
            <ac:spMk id="3" creationId="{F234CF21-56F2-EF52-E40E-B5C0076B89F6}"/>
          </ac:spMkLst>
        </pc:spChg>
        <pc:spChg chg="add del mod ord">
          <ac:chgData name="Sasha Fay" userId="c632a18a-74fe-4787-b694-0afebe47ca1f" providerId="ADAL" clId="{679324A2-DAD8-4919-A61C-65663129C89D}" dt="2024-05-31T17:18:17.155" v="25" actId="700"/>
          <ac:spMkLst>
            <pc:docMk/>
            <pc:sldMk cId="3140413803" sldId="2147477702"/>
            <ac:spMk id="4" creationId="{3CFF22A6-A3CF-4D1A-B73B-C0A036F93354}"/>
          </ac:spMkLst>
        </pc:spChg>
        <pc:spChg chg="add del mod ord">
          <ac:chgData name="Sasha Fay" userId="c632a18a-74fe-4787-b694-0afebe47ca1f" providerId="ADAL" clId="{679324A2-DAD8-4919-A61C-65663129C89D}" dt="2024-05-31T17:18:17.155" v="25" actId="700"/>
          <ac:spMkLst>
            <pc:docMk/>
            <pc:sldMk cId="3140413803" sldId="2147477702"/>
            <ac:spMk id="5" creationId="{D0329332-695B-BF3A-91D8-8B03502EB842}"/>
          </ac:spMkLst>
        </pc:spChg>
        <pc:spChg chg="add mod ord">
          <ac:chgData name="Sasha Fay" userId="c632a18a-74fe-4787-b694-0afebe47ca1f" providerId="ADAL" clId="{679324A2-DAD8-4919-A61C-65663129C89D}" dt="2024-05-31T17:18:21.253" v="37" actId="20577"/>
          <ac:spMkLst>
            <pc:docMk/>
            <pc:sldMk cId="3140413803" sldId="2147477702"/>
            <ac:spMk id="6" creationId="{3ED76415-844C-E614-BC07-3F278A0D0DE8}"/>
          </ac:spMkLst>
        </pc:spChg>
        <pc:spChg chg="add mod ord">
          <ac:chgData name="Sasha Fay" userId="c632a18a-74fe-4787-b694-0afebe47ca1f" providerId="ADAL" clId="{679324A2-DAD8-4919-A61C-65663129C89D}" dt="2024-05-31T18:56:15.945" v="2604" actId="20577"/>
          <ac:spMkLst>
            <pc:docMk/>
            <pc:sldMk cId="3140413803" sldId="2147477702"/>
            <ac:spMk id="7" creationId="{BA6E78AA-45B4-F54F-7DB7-978845B16AC6}"/>
          </ac:spMkLst>
        </pc:spChg>
      </pc:sldChg>
      <pc:sldChg chg="modSp new del mod">
        <pc:chgData name="Sasha Fay" userId="c632a18a-74fe-4787-b694-0afebe47ca1f" providerId="ADAL" clId="{679324A2-DAD8-4919-A61C-65663129C89D}" dt="2024-05-31T19:02:03.241" v="2810" actId="47"/>
        <pc:sldMkLst>
          <pc:docMk/>
          <pc:sldMk cId="443276074" sldId="2147477703"/>
        </pc:sldMkLst>
        <pc:spChg chg="mod">
          <ac:chgData name="Sasha Fay" userId="c632a18a-74fe-4787-b694-0afebe47ca1f" providerId="ADAL" clId="{679324A2-DAD8-4919-A61C-65663129C89D}" dt="2024-05-31T17:18:55.804" v="63" actId="20577"/>
          <ac:spMkLst>
            <pc:docMk/>
            <pc:sldMk cId="443276074" sldId="2147477703"/>
            <ac:spMk id="4" creationId="{6286425A-E002-A2AF-B370-5AA10AA0FBAD}"/>
          </ac:spMkLst>
        </pc:spChg>
      </pc:sldChg>
      <pc:sldChg chg="addSp delSp modSp add mod modClrScheme delAnim modAnim chgLayout">
        <pc:chgData name="Sasha Fay" userId="c632a18a-74fe-4787-b694-0afebe47ca1f" providerId="ADAL" clId="{679324A2-DAD8-4919-A61C-65663129C89D}" dt="2024-05-31T18:59:38.735" v="2743" actId="20577"/>
        <pc:sldMkLst>
          <pc:docMk/>
          <pc:sldMk cId="3646845262" sldId="2147477704"/>
        </pc:sldMkLst>
        <pc:spChg chg="mod ord">
          <ac:chgData name="Sasha Fay" userId="c632a18a-74fe-4787-b694-0afebe47ca1f" providerId="ADAL" clId="{679324A2-DAD8-4919-A61C-65663129C89D}" dt="2024-05-31T17:19:10.256" v="66" actId="700"/>
          <ac:spMkLst>
            <pc:docMk/>
            <pc:sldMk cId="3646845262" sldId="2147477704"/>
            <ac:spMk id="2" creationId="{6F6C5613-332D-D709-C315-875C5C7C8617}"/>
          </ac:spMkLst>
        </pc:spChg>
        <pc:spChg chg="mod ord">
          <ac:chgData name="Sasha Fay" userId="c632a18a-74fe-4787-b694-0afebe47ca1f" providerId="ADAL" clId="{679324A2-DAD8-4919-A61C-65663129C89D}" dt="2024-05-31T17:39:54.008" v="831" actId="948"/>
          <ac:spMkLst>
            <pc:docMk/>
            <pc:sldMk cId="3646845262" sldId="2147477704"/>
            <ac:spMk id="3" creationId="{1B12530B-E938-B287-B692-EE36A676EBD2}"/>
          </ac:spMkLst>
        </pc:spChg>
        <pc:spChg chg="add mod ord">
          <ac:chgData name="Sasha Fay" userId="c632a18a-74fe-4787-b694-0afebe47ca1f" providerId="ADAL" clId="{679324A2-DAD8-4919-A61C-65663129C89D}" dt="2024-05-31T17:25:52.093" v="511" actId="122"/>
          <ac:spMkLst>
            <pc:docMk/>
            <pc:sldMk cId="3646845262" sldId="2147477704"/>
            <ac:spMk id="4" creationId="{D048350E-C8FE-B83D-4280-1E87375B20C5}"/>
          </ac:spMkLst>
        </pc:spChg>
        <pc:spChg chg="add del mod">
          <ac:chgData name="Sasha Fay" userId="c632a18a-74fe-4787-b694-0afebe47ca1f" providerId="ADAL" clId="{679324A2-DAD8-4919-A61C-65663129C89D}" dt="2024-05-31T18:59:23.192" v="2700" actId="478"/>
          <ac:spMkLst>
            <pc:docMk/>
            <pc:sldMk cId="3646845262" sldId="2147477704"/>
            <ac:spMk id="5" creationId="{565F98AA-0024-3FB9-F525-D3787E86C5F5}"/>
          </ac:spMkLst>
        </pc:spChg>
        <pc:spChg chg="add del mod ord">
          <ac:chgData name="Sasha Fay" userId="c632a18a-74fe-4787-b694-0afebe47ca1f" providerId="ADAL" clId="{679324A2-DAD8-4919-A61C-65663129C89D}" dt="2024-05-31T17:26:41.105" v="520" actId="478"/>
          <ac:spMkLst>
            <pc:docMk/>
            <pc:sldMk cId="3646845262" sldId="2147477704"/>
            <ac:spMk id="5" creationId="{8195F746-2096-A2F6-C0E5-AEC1C60067E0}"/>
          </ac:spMkLst>
        </pc:spChg>
        <pc:spChg chg="add mod">
          <ac:chgData name="Sasha Fay" userId="c632a18a-74fe-4787-b694-0afebe47ca1f" providerId="ADAL" clId="{679324A2-DAD8-4919-A61C-65663129C89D}" dt="2024-05-31T18:59:38.735" v="2743" actId="20577"/>
          <ac:spMkLst>
            <pc:docMk/>
            <pc:sldMk cId="3646845262" sldId="2147477704"/>
            <ac:spMk id="6" creationId="{120A821F-A6CA-333F-CA70-959936D35B6E}"/>
          </ac:spMkLst>
        </pc:spChg>
        <pc:spChg chg="add del mod">
          <ac:chgData name="Sasha Fay" userId="c632a18a-74fe-4787-b694-0afebe47ca1f" providerId="ADAL" clId="{679324A2-DAD8-4919-A61C-65663129C89D}" dt="2024-05-31T17:35:33.141" v="600" actId="478"/>
          <ac:spMkLst>
            <pc:docMk/>
            <pc:sldMk cId="3646845262" sldId="2147477704"/>
            <ac:spMk id="8" creationId="{56C89D0C-135B-838D-0E58-8508DE041B7D}"/>
          </ac:spMkLst>
        </pc:spChg>
        <pc:spChg chg="add del mod ord">
          <ac:chgData name="Sasha Fay" userId="c632a18a-74fe-4787-b694-0afebe47ca1f" providerId="ADAL" clId="{679324A2-DAD8-4919-A61C-65663129C89D}" dt="2024-05-31T17:34:03.516" v="580" actId="478"/>
          <ac:spMkLst>
            <pc:docMk/>
            <pc:sldMk cId="3646845262" sldId="2147477704"/>
            <ac:spMk id="9" creationId="{72A965C4-082C-BD0C-749A-108A6A328ADE}"/>
          </ac:spMkLst>
        </pc:spChg>
        <pc:spChg chg="add del mod ord">
          <ac:chgData name="Sasha Fay" userId="c632a18a-74fe-4787-b694-0afebe47ca1f" providerId="ADAL" clId="{679324A2-DAD8-4919-A61C-65663129C89D}" dt="2024-05-31T17:34:05.200" v="581" actId="478"/>
          <ac:spMkLst>
            <pc:docMk/>
            <pc:sldMk cId="3646845262" sldId="2147477704"/>
            <ac:spMk id="10" creationId="{72EEAD17-6892-AEEE-B341-8D30677DC24E}"/>
          </ac:spMkLst>
        </pc:spChg>
        <pc:spChg chg="add del mod">
          <ac:chgData name="Sasha Fay" userId="c632a18a-74fe-4787-b694-0afebe47ca1f" providerId="ADAL" clId="{679324A2-DAD8-4919-A61C-65663129C89D}" dt="2024-05-31T17:35:06.532" v="591" actId="478"/>
          <ac:spMkLst>
            <pc:docMk/>
            <pc:sldMk cId="3646845262" sldId="2147477704"/>
            <ac:spMk id="11" creationId="{C7E6511D-33F2-2497-0501-7258E050AAE0}"/>
          </ac:spMkLst>
        </pc:spChg>
        <pc:spChg chg="add mod">
          <ac:chgData name="Sasha Fay" userId="c632a18a-74fe-4787-b694-0afebe47ca1f" providerId="ADAL" clId="{679324A2-DAD8-4919-A61C-65663129C89D}" dt="2024-05-31T17:52:54.234" v="1088" actId="20577"/>
          <ac:spMkLst>
            <pc:docMk/>
            <pc:sldMk cId="3646845262" sldId="2147477704"/>
            <ac:spMk id="13" creationId="{F1D80947-C725-8F1D-97F1-F6D12B8F6B0C}"/>
          </ac:spMkLst>
        </pc:spChg>
        <pc:picChg chg="add del mod modCrop">
          <ac:chgData name="Sasha Fay" userId="c632a18a-74fe-4787-b694-0afebe47ca1f" providerId="ADAL" clId="{679324A2-DAD8-4919-A61C-65663129C89D}" dt="2024-05-31T17:39:21.317" v="824" actId="478"/>
          <ac:picMkLst>
            <pc:docMk/>
            <pc:sldMk cId="3646845262" sldId="2147477704"/>
            <ac:picMk id="7" creationId="{ECB92847-1E8E-7FB5-F5BF-505A7AEAC4F0}"/>
          </ac:picMkLst>
        </pc:picChg>
      </pc:sldChg>
      <pc:sldChg chg="addSp delSp modSp add mod modClrScheme chgLayout">
        <pc:chgData name="Sasha Fay" userId="c632a18a-74fe-4787-b694-0afebe47ca1f" providerId="ADAL" clId="{679324A2-DAD8-4919-A61C-65663129C89D}" dt="2024-05-31T17:52:03.766" v="1049" actId="1076"/>
        <pc:sldMkLst>
          <pc:docMk/>
          <pc:sldMk cId="423450298" sldId="2147477705"/>
        </pc:sldMkLst>
        <pc:spChg chg="mod ord">
          <ac:chgData name="Sasha Fay" userId="c632a18a-74fe-4787-b694-0afebe47ca1f" providerId="ADAL" clId="{679324A2-DAD8-4919-A61C-65663129C89D}" dt="2024-05-31T17:40:41.237" v="872" actId="20577"/>
          <ac:spMkLst>
            <pc:docMk/>
            <pc:sldMk cId="423450298" sldId="2147477705"/>
            <ac:spMk id="2" creationId="{6F6C5613-332D-D709-C315-875C5C7C8617}"/>
          </ac:spMkLst>
        </pc:spChg>
        <pc:spChg chg="add del mod ord">
          <ac:chgData name="Sasha Fay" userId="c632a18a-74fe-4787-b694-0afebe47ca1f" providerId="ADAL" clId="{679324A2-DAD8-4919-A61C-65663129C89D}" dt="2024-05-31T17:41:47.232" v="910" actId="478"/>
          <ac:spMkLst>
            <pc:docMk/>
            <pc:sldMk cId="423450298" sldId="2147477705"/>
            <ac:spMk id="3" creationId="{125CE973-509F-C55B-54A8-1D865B0453D1}"/>
          </ac:spMkLst>
        </pc:spChg>
        <pc:spChg chg="add mod ord">
          <ac:chgData name="Sasha Fay" userId="c632a18a-74fe-4787-b694-0afebe47ca1f" providerId="ADAL" clId="{679324A2-DAD8-4919-A61C-65663129C89D}" dt="2024-05-31T17:41:44.719" v="909" actId="167"/>
          <ac:spMkLst>
            <pc:docMk/>
            <pc:sldMk cId="423450298" sldId="2147477705"/>
            <ac:spMk id="4" creationId="{BFD93B04-6654-2B66-7465-D0DD15177975}"/>
          </ac:spMkLst>
        </pc:spChg>
        <pc:spChg chg="mod">
          <ac:chgData name="Sasha Fay" userId="c632a18a-74fe-4787-b694-0afebe47ca1f" providerId="ADAL" clId="{679324A2-DAD8-4919-A61C-65663129C89D}" dt="2024-05-31T17:51:31.631" v="1041" actId="2085"/>
          <ac:spMkLst>
            <pc:docMk/>
            <pc:sldMk cId="423450298" sldId="2147477705"/>
            <ac:spMk id="6" creationId="{D5960322-0602-3B2F-849D-B70E160304FD}"/>
          </ac:spMkLst>
        </pc:spChg>
        <pc:spChg chg="mod">
          <ac:chgData name="Sasha Fay" userId="c632a18a-74fe-4787-b694-0afebe47ca1f" providerId="ADAL" clId="{679324A2-DAD8-4919-A61C-65663129C89D}" dt="2024-05-31T17:51:39.233" v="1043" actId="1076"/>
          <ac:spMkLst>
            <pc:docMk/>
            <pc:sldMk cId="423450298" sldId="2147477705"/>
            <ac:spMk id="7" creationId="{7E1A2262-84ED-7A60-33D1-0D019D4DE44F}"/>
          </ac:spMkLst>
        </pc:spChg>
        <pc:spChg chg="mod">
          <ac:chgData name="Sasha Fay" userId="c632a18a-74fe-4787-b694-0afebe47ca1f" providerId="ADAL" clId="{679324A2-DAD8-4919-A61C-65663129C89D}" dt="2024-05-31T17:41:59.069" v="912" actId="207"/>
          <ac:spMkLst>
            <pc:docMk/>
            <pc:sldMk cId="423450298" sldId="2147477705"/>
            <ac:spMk id="8" creationId="{012021B6-4DD8-C95F-6E97-74B4FFA19E1C}"/>
          </ac:spMkLst>
        </pc:spChg>
        <pc:spChg chg="mod">
          <ac:chgData name="Sasha Fay" userId="c632a18a-74fe-4787-b694-0afebe47ca1f" providerId="ADAL" clId="{679324A2-DAD8-4919-A61C-65663129C89D}" dt="2024-05-31T17:41:59.069" v="912" actId="207"/>
          <ac:spMkLst>
            <pc:docMk/>
            <pc:sldMk cId="423450298" sldId="2147477705"/>
            <ac:spMk id="9" creationId="{EFE6ED77-4427-70ED-CD5B-94FD22C2B6A1}"/>
          </ac:spMkLst>
        </pc:spChg>
        <pc:spChg chg="mod">
          <ac:chgData name="Sasha Fay" userId="c632a18a-74fe-4787-b694-0afebe47ca1f" providerId="ADAL" clId="{679324A2-DAD8-4919-A61C-65663129C89D}" dt="2024-05-31T17:41:59.069" v="912" actId="207"/>
          <ac:spMkLst>
            <pc:docMk/>
            <pc:sldMk cId="423450298" sldId="2147477705"/>
            <ac:spMk id="10" creationId="{AA0E48EA-B69C-52F2-31EA-A0929BBE6C21}"/>
          </ac:spMkLst>
        </pc:spChg>
        <pc:spChg chg="mod">
          <ac:chgData name="Sasha Fay" userId="c632a18a-74fe-4787-b694-0afebe47ca1f" providerId="ADAL" clId="{679324A2-DAD8-4919-A61C-65663129C89D}" dt="2024-05-31T17:43:56.389" v="916" actId="21"/>
          <ac:spMkLst>
            <pc:docMk/>
            <pc:sldMk cId="423450298" sldId="2147477705"/>
            <ac:spMk id="11" creationId="{3E2060D7-32F4-7356-8B1F-D66E5B3EA1B5}"/>
          </ac:spMkLst>
        </pc:spChg>
        <pc:spChg chg="mod">
          <ac:chgData name="Sasha Fay" userId="c632a18a-74fe-4787-b694-0afebe47ca1f" providerId="ADAL" clId="{679324A2-DAD8-4919-A61C-65663129C89D}" dt="2024-05-31T17:50:30.514" v="1029" actId="21"/>
          <ac:spMkLst>
            <pc:docMk/>
            <pc:sldMk cId="423450298" sldId="2147477705"/>
            <ac:spMk id="12" creationId="{78D5B69B-45E1-A933-BFC3-B0E88380E85A}"/>
          </ac:spMkLst>
        </pc:spChg>
        <pc:spChg chg="add mod">
          <ac:chgData name="Sasha Fay" userId="c632a18a-74fe-4787-b694-0afebe47ca1f" providerId="ADAL" clId="{679324A2-DAD8-4919-A61C-65663129C89D}" dt="2024-05-31T17:44:47.807" v="928" actId="12"/>
          <ac:spMkLst>
            <pc:docMk/>
            <pc:sldMk cId="423450298" sldId="2147477705"/>
            <ac:spMk id="14" creationId="{1C0FF80F-5876-FEC7-E0F8-DB2F0D06280C}"/>
          </ac:spMkLst>
        </pc:spChg>
        <pc:spChg chg="add mod">
          <ac:chgData name="Sasha Fay" userId="c632a18a-74fe-4787-b694-0afebe47ca1f" providerId="ADAL" clId="{679324A2-DAD8-4919-A61C-65663129C89D}" dt="2024-05-31T17:49:26.608" v="1010" actId="1076"/>
          <ac:spMkLst>
            <pc:docMk/>
            <pc:sldMk cId="423450298" sldId="2147477705"/>
            <ac:spMk id="17" creationId="{91CE41F3-E0B0-1450-5C29-C50F127DA9E9}"/>
          </ac:spMkLst>
        </pc:spChg>
        <pc:spChg chg="add mod">
          <ac:chgData name="Sasha Fay" userId="c632a18a-74fe-4787-b694-0afebe47ca1f" providerId="ADAL" clId="{679324A2-DAD8-4919-A61C-65663129C89D}" dt="2024-05-31T17:49:26.608" v="1010" actId="1076"/>
          <ac:spMkLst>
            <pc:docMk/>
            <pc:sldMk cId="423450298" sldId="2147477705"/>
            <ac:spMk id="20" creationId="{DD776396-534B-7905-ADFD-670C976824A8}"/>
          </ac:spMkLst>
        </pc:spChg>
        <pc:spChg chg="add mod">
          <ac:chgData name="Sasha Fay" userId="c632a18a-74fe-4787-b694-0afebe47ca1f" providerId="ADAL" clId="{679324A2-DAD8-4919-A61C-65663129C89D}" dt="2024-05-31T17:49:35.306" v="1021" actId="20577"/>
          <ac:spMkLst>
            <pc:docMk/>
            <pc:sldMk cId="423450298" sldId="2147477705"/>
            <ac:spMk id="21" creationId="{22D8AD91-0DE0-CDD1-89BF-2F8C9F4C4159}"/>
          </ac:spMkLst>
        </pc:spChg>
        <pc:spChg chg="add mod">
          <ac:chgData name="Sasha Fay" userId="c632a18a-74fe-4787-b694-0afebe47ca1f" providerId="ADAL" clId="{679324A2-DAD8-4919-A61C-65663129C89D}" dt="2024-05-31T17:52:00.401" v="1048" actId="108"/>
          <ac:spMkLst>
            <pc:docMk/>
            <pc:sldMk cId="423450298" sldId="2147477705"/>
            <ac:spMk id="24" creationId="{9935AAD6-5921-80F5-77DF-9B59D0007869}"/>
          </ac:spMkLst>
        </pc:spChg>
        <pc:picChg chg="add mod">
          <ac:chgData name="Sasha Fay" userId="c632a18a-74fe-4787-b694-0afebe47ca1f" providerId="ADAL" clId="{679324A2-DAD8-4919-A61C-65663129C89D}" dt="2024-05-31T17:44:49.627" v="929" actId="1076"/>
          <ac:picMkLst>
            <pc:docMk/>
            <pc:sldMk cId="423450298" sldId="2147477705"/>
            <ac:picMk id="13" creationId="{BE57CAA2-BBF2-BEC1-ECC9-3EA4FF0B3BFC}"/>
          </ac:picMkLst>
        </pc:picChg>
        <pc:picChg chg="add del mod">
          <ac:chgData name="Sasha Fay" userId="c632a18a-74fe-4787-b694-0afebe47ca1f" providerId="ADAL" clId="{679324A2-DAD8-4919-A61C-65663129C89D}" dt="2024-05-31T17:47:05.424" v="959" actId="478"/>
          <ac:picMkLst>
            <pc:docMk/>
            <pc:sldMk cId="423450298" sldId="2147477705"/>
            <ac:picMk id="16" creationId="{1320A2E5-7807-FEF9-6D14-2228B12111CD}"/>
          </ac:picMkLst>
        </pc:picChg>
        <pc:picChg chg="add mod">
          <ac:chgData name="Sasha Fay" userId="c632a18a-74fe-4787-b694-0afebe47ca1f" providerId="ADAL" clId="{679324A2-DAD8-4919-A61C-65663129C89D}" dt="2024-05-31T17:47:13.950" v="963" actId="14100"/>
          <ac:picMkLst>
            <pc:docMk/>
            <pc:sldMk cId="423450298" sldId="2147477705"/>
            <ac:picMk id="19" creationId="{143D30CF-DA82-1F5B-45BE-0E87920BA75A}"/>
          </ac:picMkLst>
        </pc:picChg>
        <pc:picChg chg="add mod modCrop">
          <ac:chgData name="Sasha Fay" userId="c632a18a-74fe-4787-b694-0afebe47ca1f" providerId="ADAL" clId="{679324A2-DAD8-4919-A61C-65663129C89D}" dt="2024-05-31T17:52:03.766" v="1049" actId="1076"/>
          <ac:picMkLst>
            <pc:docMk/>
            <pc:sldMk cId="423450298" sldId="2147477705"/>
            <ac:picMk id="23" creationId="{C1BD0892-A9F0-9F93-B99E-D92A09B479F6}"/>
          </ac:picMkLst>
        </pc:picChg>
      </pc:sldChg>
      <pc:sldChg chg="modSp add mod modClrScheme chgLayout">
        <pc:chgData name="Sasha Fay" userId="c632a18a-74fe-4787-b694-0afebe47ca1f" providerId="ADAL" clId="{679324A2-DAD8-4919-A61C-65663129C89D}" dt="2024-05-31T17:53:50.900" v="1090" actId="20577"/>
        <pc:sldMkLst>
          <pc:docMk/>
          <pc:sldMk cId="909024994" sldId="2147477706"/>
        </pc:sldMkLst>
        <pc:spChg chg="mod ord">
          <ac:chgData name="Sasha Fay" userId="c632a18a-74fe-4787-b694-0afebe47ca1f" providerId="ADAL" clId="{679324A2-DAD8-4919-A61C-65663129C89D}" dt="2024-05-31T17:19:10.256" v="66" actId="700"/>
          <ac:spMkLst>
            <pc:docMk/>
            <pc:sldMk cId="909024994" sldId="2147477706"/>
            <ac:spMk id="2" creationId="{1DAE7998-7FC3-009C-68AC-DE53AD5BAD6C}"/>
          </ac:spMkLst>
        </pc:spChg>
        <pc:spChg chg="mod ord">
          <ac:chgData name="Sasha Fay" userId="c632a18a-74fe-4787-b694-0afebe47ca1f" providerId="ADAL" clId="{679324A2-DAD8-4919-A61C-65663129C89D}" dt="2024-05-31T17:53:50.900" v="1090" actId="20577"/>
          <ac:spMkLst>
            <pc:docMk/>
            <pc:sldMk cId="909024994" sldId="2147477706"/>
            <ac:spMk id="3" creationId="{25F59FE5-54C7-4E6D-EE5E-D4516E47EF5F}"/>
          </ac:spMkLst>
        </pc:spChg>
      </pc:sldChg>
      <pc:sldChg chg="modSp add del mod modClrScheme chgLayout">
        <pc:chgData name="Sasha Fay" userId="c632a18a-74fe-4787-b694-0afebe47ca1f" providerId="ADAL" clId="{679324A2-DAD8-4919-A61C-65663129C89D}" dt="2024-05-31T18:02:18.573" v="1766" actId="47"/>
        <pc:sldMkLst>
          <pc:docMk/>
          <pc:sldMk cId="3593111932" sldId="2147477707"/>
        </pc:sldMkLst>
        <pc:spChg chg="mod ord">
          <ac:chgData name="Sasha Fay" userId="c632a18a-74fe-4787-b694-0afebe47ca1f" providerId="ADAL" clId="{679324A2-DAD8-4919-A61C-65663129C89D}" dt="2024-05-31T17:19:10.256" v="66" actId="700"/>
          <ac:spMkLst>
            <pc:docMk/>
            <pc:sldMk cId="3593111932" sldId="2147477707"/>
            <ac:spMk id="2" creationId="{6F6C5613-332D-D709-C315-875C5C7C8617}"/>
          </ac:spMkLst>
        </pc:spChg>
        <pc:spChg chg="mod ord">
          <ac:chgData name="Sasha Fay" userId="c632a18a-74fe-4787-b694-0afebe47ca1f" providerId="ADAL" clId="{679324A2-DAD8-4919-A61C-65663129C89D}" dt="2024-05-31T17:19:10.256" v="66" actId="700"/>
          <ac:spMkLst>
            <pc:docMk/>
            <pc:sldMk cId="3593111932" sldId="2147477707"/>
            <ac:spMk id="3" creationId="{1B12530B-E938-B287-B692-EE36A676EBD2}"/>
          </ac:spMkLst>
        </pc:spChg>
      </pc:sldChg>
      <pc:sldChg chg="addSp delSp modSp add mod modClrScheme chgLayout">
        <pc:chgData name="Sasha Fay" userId="c632a18a-74fe-4787-b694-0afebe47ca1f" providerId="ADAL" clId="{679324A2-DAD8-4919-A61C-65663129C89D}" dt="2024-05-31T18:08:38.333" v="2209" actId="14100"/>
        <pc:sldMkLst>
          <pc:docMk/>
          <pc:sldMk cId="2971093757" sldId="2147477708"/>
        </pc:sldMkLst>
        <pc:spChg chg="mod ord">
          <ac:chgData name="Sasha Fay" userId="c632a18a-74fe-4787-b694-0afebe47ca1f" providerId="ADAL" clId="{679324A2-DAD8-4919-A61C-65663129C89D}" dt="2024-05-31T17:19:10.256" v="66" actId="700"/>
          <ac:spMkLst>
            <pc:docMk/>
            <pc:sldMk cId="2971093757" sldId="2147477708"/>
            <ac:spMk id="2" creationId="{AB5B1F23-65CD-B70D-13FA-1663FAA81AF8}"/>
          </ac:spMkLst>
        </pc:spChg>
        <pc:spChg chg="del mod ord">
          <ac:chgData name="Sasha Fay" userId="c632a18a-74fe-4787-b694-0afebe47ca1f" providerId="ADAL" clId="{679324A2-DAD8-4919-A61C-65663129C89D}" dt="2024-05-31T18:05:22.277" v="1794" actId="478"/>
          <ac:spMkLst>
            <pc:docMk/>
            <pc:sldMk cId="2971093757" sldId="2147477708"/>
            <ac:spMk id="3" creationId="{3C6E765B-9FDE-4F76-544D-060679D7F4B2}"/>
          </ac:spMkLst>
        </pc:spChg>
        <pc:spChg chg="add mod">
          <ac:chgData name="Sasha Fay" userId="c632a18a-74fe-4787-b694-0afebe47ca1f" providerId="ADAL" clId="{679324A2-DAD8-4919-A61C-65663129C89D}" dt="2024-05-31T18:06:47.559" v="1946" actId="403"/>
          <ac:spMkLst>
            <pc:docMk/>
            <pc:sldMk cId="2971093757" sldId="2147477708"/>
            <ac:spMk id="4" creationId="{87845BBC-5B4D-EFA2-96AA-642ED305AB35}"/>
          </ac:spMkLst>
        </pc:spChg>
        <pc:spChg chg="add mod">
          <ac:chgData name="Sasha Fay" userId="c632a18a-74fe-4787-b694-0afebe47ca1f" providerId="ADAL" clId="{679324A2-DAD8-4919-A61C-65663129C89D}" dt="2024-05-31T18:08:00.375" v="2132" actId="20577"/>
          <ac:spMkLst>
            <pc:docMk/>
            <pc:sldMk cId="2971093757" sldId="2147477708"/>
            <ac:spMk id="5" creationId="{13E57358-E900-7A42-F82E-B75445EA0361}"/>
          </ac:spMkLst>
        </pc:spChg>
        <pc:spChg chg="add mod">
          <ac:chgData name="Sasha Fay" userId="c632a18a-74fe-4787-b694-0afebe47ca1f" providerId="ADAL" clId="{679324A2-DAD8-4919-A61C-65663129C89D}" dt="2024-05-31T18:08:38.333" v="2209" actId="14100"/>
          <ac:spMkLst>
            <pc:docMk/>
            <pc:sldMk cId="2971093757" sldId="2147477708"/>
            <ac:spMk id="6" creationId="{A3549A2F-740E-29D8-8715-096D7D4F44C7}"/>
          </ac:spMkLst>
        </pc:spChg>
        <pc:spChg chg="add del mod">
          <ac:chgData name="Sasha Fay" userId="c632a18a-74fe-4787-b694-0afebe47ca1f" providerId="ADAL" clId="{679324A2-DAD8-4919-A61C-65663129C89D}" dt="2024-05-31T18:05:24.044" v="1795" actId="478"/>
          <ac:spMkLst>
            <pc:docMk/>
            <pc:sldMk cId="2971093757" sldId="2147477708"/>
            <ac:spMk id="8" creationId="{263DFA71-40B9-C692-9518-B19C10A675D4}"/>
          </ac:spMkLst>
        </pc:spChg>
      </pc:sldChg>
      <pc:sldChg chg="addSp modSp add mod modClrScheme chgLayout">
        <pc:chgData name="Sasha Fay" userId="c632a18a-74fe-4787-b694-0afebe47ca1f" providerId="ADAL" clId="{679324A2-DAD8-4919-A61C-65663129C89D}" dt="2024-05-31T17:19:10.256" v="66" actId="700"/>
        <pc:sldMkLst>
          <pc:docMk/>
          <pc:sldMk cId="2845888680" sldId="2147477709"/>
        </pc:sldMkLst>
        <pc:spChg chg="mod ord">
          <ac:chgData name="Sasha Fay" userId="c632a18a-74fe-4787-b694-0afebe47ca1f" providerId="ADAL" clId="{679324A2-DAD8-4919-A61C-65663129C89D}" dt="2024-05-31T17:19:10.256" v="66" actId="700"/>
          <ac:spMkLst>
            <pc:docMk/>
            <pc:sldMk cId="2845888680" sldId="2147477709"/>
            <ac:spMk id="2" creationId="{6F6C5613-332D-D709-C315-875C5C7C8617}"/>
          </ac:spMkLst>
        </pc:spChg>
        <pc:spChg chg="add mod ord">
          <ac:chgData name="Sasha Fay" userId="c632a18a-74fe-4787-b694-0afebe47ca1f" providerId="ADAL" clId="{679324A2-DAD8-4919-A61C-65663129C89D}" dt="2024-05-31T17:19:10.256" v="66" actId="700"/>
          <ac:spMkLst>
            <pc:docMk/>
            <pc:sldMk cId="2845888680" sldId="2147477709"/>
            <ac:spMk id="11" creationId="{19EE77C2-3898-29C0-12FB-BD34C11D51FA}"/>
          </ac:spMkLst>
        </pc:spChg>
      </pc:sldChg>
      <pc:sldChg chg="addSp delSp modSp add mod ord modClrScheme chgLayout">
        <pc:chgData name="Sasha Fay" userId="c632a18a-74fe-4787-b694-0afebe47ca1f" providerId="ADAL" clId="{679324A2-DAD8-4919-A61C-65663129C89D}" dt="2024-05-31T18:09:58.550" v="2271" actId="21"/>
        <pc:sldMkLst>
          <pc:docMk/>
          <pc:sldMk cId="2346542189" sldId="2147477710"/>
        </pc:sldMkLst>
        <pc:spChg chg="mod ord">
          <ac:chgData name="Sasha Fay" userId="c632a18a-74fe-4787-b694-0afebe47ca1f" providerId="ADAL" clId="{679324A2-DAD8-4919-A61C-65663129C89D}" dt="2024-05-31T17:19:10.256" v="66" actId="700"/>
          <ac:spMkLst>
            <pc:docMk/>
            <pc:sldMk cId="2346542189" sldId="2147477710"/>
            <ac:spMk id="2" creationId="{6F6C5613-332D-D709-C315-875C5C7C8617}"/>
          </ac:spMkLst>
        </pc:spChg>
        <pc:spChg chg="mod ord">
          <ac:chgData name="Sasha Fay" userId="c632a18a-74fe-4787-b694-0afebe47ca1f" providerId="ADAL" clId="{679324A2-DAD8-4919-A61C-65663129C89D}" dt="2024-05-31T17:19:10.256" v="66" actId="700"/>
          <ac:spMkLst>
            <pc:docMk/>
            <pc:sldMk cId="2346542189" sldId="2147477710"/>
            <ac:spMk id="3" creationId="{1B12530B-E938-B287-B692-EE36A676EBD2}"/>
          </ac:spMkLst>
        </pc:spChg>
        <pc:picChg chg="add del">
          <ac:chgData name="Sasha Fay" userId="c632a18a-74fe-4787-b694-0afebe47ca1f" providerId="ADAL" clId="{679324A2-DAD8-4919-A61C-65663129C89D}" dt="2024-05-31T18:09:58.550" v="2271" actId="21"/>
          <ac:picMkLst>
            <pc:docMk/>
            <pc:sldMk cId="2346542189" sldId="2147477710"/>
            <ac:picMk id="5" creationId="{FE62594E-0FF3-3CD4-FDFB-6299953E9E51}"/>
          </ac:picMkLst>
        </pc:picChg>
      </pc:sldChg>
      <pc:sldChg chg="addSp modSp add mod modClrScheme chgLayout">
        <pc:chgData name="Sasha Fay" userId="c632a18a-74fe-4787-b694-0afebe47ca1f" providerId="ADAL" clId="{679324A2-DAD8-4919-A61C-65663129C89D}" dt="2024-05-31T19:20:18.592" v="2834" actId="1076"/>
        <pc:sldMkLst>
          <pc:docMk/>
          <pc:sldMk cId="2669358637" sldId="2147477711"/>
        </pc:sldMkLst>
        <pc:spChg chg="mod ord">
          <ac:chgData name="Sasha Fay" userId="c632a18a-74fe-4787-b694-0afebe47ca1f" providerId="ADAL" clId="{679324A2-DAD8-4919-A61C-65663129C89D}" dt="2024-05-31T17:19:10.256" v="66" actId="700"/>
          <ac:spMkLst>
            <pc:docMk/>
            <pc:sldMk cId="2669358637" sldId="2147477711"/>
            <ac:spMk id="2" creationId="{6F6C5613-332D-D709-C315-875C5C7C8617}"/>
          </ac:spMkLst>
        </pc:spChg>
        <pc:spChg chg="mod ord">
          <ac:chgData name="Sasha Fay" userId="c632a18a-74fe-4787-b694-0afebe47ca1f" providerId="ADAL" clId="{679324A2-DAD8-4919-A61C-65663129C89D}" dt="2024-05-31T17:19:10.256" v="66" actId="700"/>
          <ac:spMkLst>
            <pc:docMk/>
            <pc:sldMk cId="2669358637" sldId="2147477711"/>
            <ac:spMk id="3" creationId="{1B12530B-E938-B287-B692-EE36A676EBD2}"/>
          </ac:spMkLst>
        </pc:spChg>
        <pc:spChg chg="add mod">
          <ac:chgData name="Sasha Fay" userId="c632a18a-74fe-4787-b694-0afebe47ca1f" providerId="ADAL" clId="{679324A2-DAD8-4919-A61C-65663129C89D}" dt="2024-05-31T19:20:18.592" v="2834" actId="1076"/>
          <ac:spMkLst>
            <pc:docMk/>
            <pc:sldMk cId="2669358637" sldId="2147477711"/>
            <ac:spMk id="5" creationId="{E7BCE87F-9114-BA61-16D8-E765A9B10A0D}"/>
          </ac:spMkLst>
        </pc:spChg>
      </pc:sldChg>
      <pc:sldChg chg="modSp add del mod modClrScheme chgLayout">
        <pc:chgData name="Sasha Fay" userId="c632a18a-74fe-4787-b694-0afebe47ca1f" providerId="ADAL" clId="{679324A2-DAD8-4919-A61C-65663129C89D}" dt="2024-05-31T19:02:05.232" v="2811" actId="47"/>
        <pc:sldMkLst>
          <pc:docMk/>
          <pc:sldMk cId="3362496764" sldId="2147477712"/>
        </pc:sldMkLst>
        <pc:spChg chg="mod ord">
          <ac:chgData name="Sasha Fay" userId="c632a18a-74fe-4787-b694-0afebe47ca1f" providerId="ADAL" clId="{679324A2-DAD8-4919-A61C-65663129C89D}" dt="2024-05-31T17:19:10.256" v="66" actId="700"/>
          <ac:spMkLst>
            <pc:docMk/>
            <pc:sldMk cId="3362496764" sldId="2147477712"/>
            <ac:spMk id="2" creationId="{6F6C5613-332D-D709-C315-875C5C7C8617}"/>
          </ac:spMkLst>
        </pc:spChg>
        <pc:spChg chg="mod ord">
          <ac:chgData name="Sasha Fay" userId="c632a18a-74fe-4787-b694-0afebe47ca1f" providerId="ADAL" clId="{679324A2-DAD8-4919-A61C-65663129C89D}" dt="2024-05-31T17:19:10.256" v="66" actId="700"/>
          <ac:spMkLst>
            <pc:docMk/>
            <pc:sldMk cId="3362496764" sldId="2147477712"/>
            <ac:spMk id="3" creationId="{1B12530B-E938-B287-B692-EE36A676EBD2}"/>
          </ac:spMkLst>
        </pc:spChg>
      </pc:sldChg>
      <pc:sldChg chg="addSp delSp modSp add del mod modClrScheme chgLayout">
        <pc:chgData name="Sasha Fay" userId="c632a18a-74fe-4787-b694-0afebe47ca1f" providerId="ADAL" clId="{679324A2-DAD8-4919-A61C-65663129C89D}" dt="2024-05-31T19:01:41.351" v="2799" actId="47"/>
        <pc:sldMkLst>
          <pc:docMk/>
          <pc:sldMk cId="353517212" sldId="2147477713"/>
        </pc:sldMkLst>
        <pc:spChg chg="mod ord">
          <ac:chgData name="Sasha Fay" userId="c632a18a-74fe-4787-b694-0afebe47ca1f" providerId="ADAL" clId="{679324A2-DAD8-4919-A61C-65663129C89D}" dt="2024-05-31T17:19:10.256" v="66" actId="700"/>
          <ac:spMkLst>
            <pc:docMk/>
            <pc:sldMk cId="353517212" sldId="2147477713"/>
            <ac:spMk id="2" creationId="{2947E08C-4424-0F5F-3847-C5A5A94DFDAE}"/>
          </ac:spMkLst>
        </pc:spChg>
        <pc:spChg chg="add del mod ord">
          <ac:chgData name="Sasha Fay" userId="c632a18a-74fe-4787-b694-0afebe47ca1f" providerId="ADAL" clId="{679324A2-DAD8-4919-A61C-65663129C89D}" dt="2024-05-31T18:52:05.705" v="2379" actId="478"/>
          <ac:spMkLst>
            <pc:docMk/>
            <pc:sldMk cId="353517212" sldId="2147477713"/>
            <ac:spMk id="3" creationId="{DB458AAF-A739-B128-E3B8-A06640265FF7}"/>
          </ac:spMkLst>
        </pc:spChg>
        <pc:spChg chg="add del">
          <ac:chgData name="Sasha Fay" userId="c632a18a-74fe-4787-b694-0afebe47ca1f" providerId="ADAL" clId="{679324A2-DAD8-4919-A61C-65663129C89D}" dt="2024-05-31T18:52:03.667" v="2378" actId="478"/>
          <ac:spMkLst>
            <pc:docMk/>
            <pc:sldMk cId="353517212" sldId="2147477713"/>
            <ac:spMk id="4" creationId="{91615A1A-20AA-E2E7-EEFA-57089B8D4806}"/>
          </ac:spMkLst>
        </pc:spChg>
      </pc:sldChg>
      <pc:sldChg chg="add del">
        <pc:chgData name="Sasha Fay" userId="c632a18a-74fe-4787-b694-0afebe47ca1f" providerId="ADAL" clId="{679324A2-DAD8-4919-A61C-65663129C89D}" dt="2024-05-31T17:40:23.447" v="834" actId="47"/>
        <pc:sldMkLst>
          <pc:docMk/>
          <pc:sldMk cId="3633269590" sldId="2147477714"/>
        </pc:sldMkLst>
      </pc:sldChg>
      <pc:sldChg chg="addSp delSp modSp add mod modNotesTx">
        <pc:chgData name="Sasha Fay" userId="c632a18a-74fe-4787-b694-0afebe47ca1f" providerId="ADAL" clId="{679324A2-DAD8-4919-A61C-65663129C89D}" dt="2024-05-31T19:00:57.892" v="2798"/>
        <pc:sldMkLst>
          <pc:docMk/>
          <pc:sldMk cId="3997036326" sldId="2147477714"/>
        </pc:sldMkLst>
        <pc:spChg chg="mod">
          <ac:chgData name="Sasha Fay" userId="c632a18a-74fe-4787-b694-0afebe47ca1f" providerId="ADAL" clId="{679324A2-DAD8-4919-A61C-65663129C89D}" dt="2024-05-31T17:54:10.092" v="1108" actId="20577"/>
          <ac:spMkLst>
            <pc:docMk/>
            <pc:sldMk cId="3997036326" sldId="2147477714"/>
            <ac:spMk id="2" creationId="{6F6C5613-332D-D709-C315-875C5C7C8617}"/>
          </ac:spMkLst>
        </pc:spChg>
        <pc:spChg chg="mod">
          <ac:chgData name="Sasha Fay" userId="c632a18a-74fe-4787-b694-0afebe47ca1f" providerId="ADAL" clId="{679324A2-DAD8-4919-A61C-65663129C89D}" dt="2024-05-31T19:00:56.112" v="2797" actId="27636"/>
          <ac:spMkLst>
            <pc:docMk/>
            <pc:sldMk cId="3997036326" sldId="2147477714"/>
            <ac:spMk id="3" creationId="{1B12530B-E938-B287-B692-EE36A676EBD2}"/>
          </ac:spMkLst>
        </pc:spChg>
        <pc:spChg chg="mod">
          <ac:chgData name="Sasha Fay" userId="c632a18a-74fe-4787-b694-0afebe47ca1f" providerId="ADAL" clId="{679324A2-DAD8-4919-A61C-65663129C89D}" dt="2024-05-31T17:55:31.712" v="1239" actId="20577"/>
          <ac:spMkLst>
            <pc:docMk/>
            <pc:sldMk cId="3997036326" sldId="2147477714"/>
            <ac:spMk id="4" creationId="{D048350E-C8FE-B83D-4280-1E87375B20C5}"/>
          </ac:spMkLst>
        </pc:spChg>
        <pc:spChg chg="add mod">
          <ac:chgData name="Sasha Fay" userId="c632a18a-74fe-4787-b694-0afebe47ca1f" providerId="ADAL" clId="{679324A2-DAD8-4919-A61C-65663129C89D}" dt="2024-05-31T19:00:05.558" v="2760" actId="20577"/>
          <ac:spMkLst>
            <pc:docMk/>
            <pc:sldMk cId="3997036326" sldId="2147477714"/>
            <ac:spMk id="5" creationId="{3524F5A2-D20A-1692-FE5E-D2BFD0D01BF8}"/>
          </ac:spMkLst>
        </pc:spChg>
        <pc:spChg chg="add del mod">
          <ac:chgData name="Sasha Fay" userId="c632a18a-74fe-4787-b694-0afebe47ca1f" providerId="ADAL" clId="{679324A2-DAD8-4919-A61C-65663129C89D}" dt="2024-05-31T17:57:47.674" v="1522" actId="478"/>
          <ac:spMkLst>
            <pc:docMk/>
            <pc:sldMk cId="3997036326" sldId="2147477714"/>
            <ac:spMk id="5" creationId="{E85C5AA8-5DA5-1385-282F-6FDBAA6CCB8A}"/>
          </ac:spMkLst>
        </pc:spChg>
        <pc:spChg chg="add del mod">
          <ac:chgData name="Sasha Fay" userId="c632a18a-74fe-4787-b694-0afebe47ca1f" providerId="ADAL" clId="{679324A2-DAD8-4919-A61C-65663129C89D}" dt="2024-05-31T17:58:00.285" v="1525" actId="478"/>
          <ac:spMkLst>
            <pc:docMk/>
            <pc:sldMk cId="3997036326" sldId="2147477714"/>
            <ac:spMk id="6" creationId="{27DA4224-A643-7997-7BD4-0D14F7C5D047}"/>
          </ac:spMkLst>
        </pc:spChg>
        <pc:spChg chg="mod">
          <ac:chgData name="Sasha Fay" userId="c632a18a-74fe-4787-b694-0afebe47ca1f" providerId="ADAL" clId="{679324A2-DAD8-4919-A61C-65663129C89D}" dt="2024-05-31T18:09:09.016" v="2259" actId="20577"/>
          <ac:spMkLst>
            <pc:docMk/>
            <pc:sldMk cId="3997036326" sldId="2147477714"/>
            <ac:spMk id="13" creationId="{F1D80947-C725-8F1D-97F1-F6D12B8F6B0C}"/>
          </ac:spMkLst>
        </pc:spChg>
      </pc:sldChg>
      <pc:sldChg chg="addSp delSp modSp new del mod modClrScheme chgLayout">
        <pc:chgData name="Sasha Fay" userId="c632a18a-74fe-4787-b694-0afebe47ca1f" providerId="ADAL" clId="{679324A2-DAD8-4919-A61C-65663129C89D}" dt="2024-05-31T17:19:36.307" v="75" actId="47"/>
        <pc:sldMkLst>
          <pc:docMk/>
          <pc:sldMk cId="4134691889" sldId="2147477714"/>
        </pc:sldMkLst>
        <pc:spChg chg="del mod ord">
          <ac:chgData name="Sasha Fay" userId="c632a18a-74fe-4787-b694-0afebe47ca1f" providerId="ADAL" clId="{679324A2-DAD8-4919-A61C-65663129C89D}" dt="2024-05-31T17:19:24.454" v="68" actId="700"/>
          <ac:spMkLst>
            <pc:docMk/>
            <pc:sldMk cId="4134691889" sldId="2147477714"/>
            <ac:spMk id="2" creationId="{6CED0258-F2C0-301E-CD92-856EB63A2460}"/>
          </ac:spMkLst>
        </pc:spChg>
        <pc:spChg chg="mod ord">
          <ac:chgData name="Sasha Fay" userId="c632a18a-74fe-4787-b694-0afebe47ca1f" providerId="ADAL" clId="{679324A2-DAD8-4919-A61C-65663129C89D}" dt="2024-05-31T17:19:28.873" v="69" actId="700"/>
          <ac:spMkLst>
            <pc:docMk/>
            <pc:sldMk cId="4134691889" sldId="2147477714"/>
            <ac:spMk id="3" creationId="{D9BCA16D-913E-AFC6-45E6-904A41DC8867}"/>
          </ac:spMkLst>
        </pc:spChg>
        <pc:spChg chg="del mod ord">
          <ac:chgData name="Sasha Fay" userId="c632a18a-74fe-4787-b694-0afebe47ca1f" providerId="ADAL" clId="{679324A2-DAD8-4919-A61C-65663129C89D}" dt="2024-05-31T17:19:24.454" v="68" actId="700"/>
          <ac:spMkLst>
            <pc:docMk/>
            <pc:sldMk cId="4134691889" sldId="2147477714"/>
            <ac:spMk id="4" creationId="{737C556F-D56F-74FE-2B6D-4F4F649C3F81}"/>
          </ac:spMkLst>
        </pc:spChg>
        <pc:spChg chg="add del mod ord">
          <ac:chgData name="Sasha Fay" userId="c632a18a-74fe-4787-b694-0afebe47ca1f" providerId="ADAL" clId="{679324A2-DAD8-4919-A61C-65663129C89D}" dt="2024-05-31T17:19:28.873" v="69" actId="700"/>
          <ac:spMkLst>
            <pc:docMk/>
            <pc:sldMk cId="4134691889" sldId="2147477714"/>
            <ac:spMk id="5" creationId="{E6C5A650-7D40-FCB5-2222-C939ECDD2964}"/>
          </ac:spMkLst>
        </pc:spChg>
        <pc:spChg chg="add del mod ord">
          <ac:chgData name="Sasha Fay" userId="c632a18a-74fe-4787-b694-0afebe47ca1f" providerId="ADAL" clId="{679324A2-DAD8-4919-A61C-65663129C89D}" dt="2024-05-31T17:19:28.873" v="69" actId="700"/>
          <ac:spMkLst>
            <pc:docMk/>
            <pc:sldMk cId="4134691889" sldId="2147477714"/>
            <ac:spMk id="6" creationId="{37299C37-A895-2B43-F061-6E00D061ED62}"/>
          </ac:spMkLst>
        </pc:spChg>
        <pc:spChg chg="add mod ord">
          <ac:chgData name="Sasha Fay" userId="c632a18a-74fe-4787-b694-0afebe47ca1f" providerId="ADAL" clId="{679324A2-DAD8-4919-A61C-65663129C89D}" dt="2024-05-31T17:19:34.484" v="74" actId="20577"/>
          <ac:spMkLst>
            <pc:docMk/>
            <pc:sldMk cId="4134691889" sldId="2147477714"/>
            <ac:spMk id="7" creationId="{30958800-47CB-0442-A930-912199F191E9}"/>
          </ac:spMkLst>
        </pc:spChg>
      </pc:sldChg>
      <pc:sldChg chg="addSp delSp modSp add del mod">
        <pc:chgData name="Sasha Fay" userId="c632a18a-74fe-4787-b694-0afebe47ca1f" providerId="ADAL" clId="{679324A2-DAD8-4919-A61C-65663129C89D}" dt="2024-05-31T18:17:19.199" v="2284" actId="47"/>
        <pc:sldMkLst>
          <pc:docMk/>
          <pc:sldMk cId="1700910506" sldId="2147477715"/>
        </pc:sldMkLst>
        <pc:spChg chg="del">
          <ac:chgData name="Sasha Fay" userId="c632a18a-74fe-4787-b694-0afebe47ca1f" providerId="ADAL" clId="{679324A2-DAD8-4919-A61C-65663129C89D}" dt="2024-05-31T18:09:28.558" v="2261" actId="478"/>
          <ac:spMkLst>
            <pc:docMk/>
            <pc:sldMk cId="1700910506" sldId="2147477715"/>
            <ac:spMk id="3" creationId="{1B12530B-E938-B287-B692-EE36A676EBD2}"/>
          </ac:spMkLst>
        </pc:spChg>
        <pc:spChg chg="add del mod">
          <ac:chgData name="Sasha Fay" userId="c632a18a-74fe-4787-b694-0afebe47ca1f" providerId="ADAL" clId="{679324A2-DAD8-4919-A61C-65663129C89D}" dt="2024-05-31T18:09:29.930" v="2262" actId="478"/>
          <ac:spMkLst>
            <pc:docMk/>
            <pc:sldMk cId="1700910506" sldId="2147477715"/>
            <ac:spMk id="5" creationId="{D0C5E340-AFED-2F9F-B79B-9C5980AA505C}"/>
          </ac:spMkLst>
        </pc:spChg>
        <pc:spChg chg="add mod">
          <ac:chgData name="Sasha Fay" userId="c632a18a-74fe-4787-b694-0afebe47ca1f" providerId="ADAL" clId="{679324A2-DAD8-4919-A61C-65663129C89D}" dt="2024-05-31T18:09:39.169" v="2266" actId="2085"/>
          <ac:spMkLst>
            <pc:docMk/>
            <pc:sldMk cId="1700910506" sldId="2147477715"/>
            <ac:spMk id="6" creationId="{388A3123-57CC-9812-95D3-5374DDB5EB4D}"/>
          </ac:spMkLst>
        </pc:spChg>
        <pc:spChg chg="add mod">
          <ac:chgData name="Sasha Fay" userId="c632a18a-74fe-4787-b694-0afebe47ca1f" providerId="ADAL" clId="{679324A2-DAD8-4919-A61C-65663129C89D}" dt="2024-05-31T18:09:47.080" v="2269" actId="1076"/>
          <ac:spMkLst>
            <pc:docMk/>
            <pc:sldMk cId="1700910506" sldId="2147477715"/>
            <ac:spMk id="9" creationId="{185612D8-9A96-BD44-D156-0FDA723DB387}"/>
          </ac:spMkLst>
        </pc:spChg>
        <pc:spChg chg="add mod">
          <ac:chgData name="Sasha Fay" userId="c632a18a-74fe-4787-b694-0afebe47ca1f" providerId="ADAL" clId="{679324A2-DAD8-4919-A61C-65663129C89D}" dt="2024-05-31T18:10:15.196" v="2283" actId="20577"/>
          <ac:spMkLst>
            <pc:docMk/>
            <pc:sldMk cId="1700910506" sldId="2147477715"/>
            <ac:spMk id="11" creationId="{DB45FD75-7C32-F512-8068-264D5B1C06EC}"/>
          </ac:spMkLst>
        </pc:spChg>
        <pc:picChg chg="add mod">
          <ac:chgData name="Sasha Fay" userId="c632a18a-74fe-4787-b694-0afebe47ca1f" providerId="ADAL" clId="{679324A2-DAD8-4919-A61C-65663129C89D}" dt="2024-05-31T18:10:01.211" v="2273" actId="1076"/>
          <ac:picMkLst>
            <pc:docMk/>
            <pc:sldMk cId="1700910506" sldId="2147477715"/>
            <ac:picMk id="10" creationId="{8171F78C-8C75-EBDB-CC9B-4405C45EC2BE}"/>
          </ac:picMkLst>
        </pc:picChg>
        <pc:cxnChg chg="add">
          <ac:chgData name="Sasha Fay" userId="c632a18a-74fe-4787-b694-0afebe47ca1f" providerId="ADAL" clId="{679324A2-DAD8-4919-A61C-65663129C89D}" dt="2024-05-31T18:09:42.471" v="2267" actId="11529"/>
          <ac:cxnSpMkLst>
            <pc:docMk/>
            <pc:sldMk cId="1700910506" sldId="2147477715"/>
            <ac:cxnSpMk id="8" creationId="{A5B6562F-5FC1-6B04-8192-E4BD4DC2407E}"/>
          </ac:cxnSpMkLst>
        </pc:cxnChg>
      </pc:sldChg>
      <pc:sldChg chg="addSp delSp modSp add mod modClrScheme modAnim chgLayout">
        <pc:chgData name="Sasha Fay" userId="c632a18a-74fe-4787-b694-0afebe47ca1f" providerId="ADAL" clId="{679324A2-DAD8-4919-A61C-65663129C89D}" dt="2024-05-31T19:18:46.539" v="2827" actId="113"/>
        <pc:sldMkLst>
          <pc:docMk/>
          <pc:sldMk cId="2789125924" sldId="2147477715"/>
        </pc:sldMkLst>
        <pc:spChg chg="mod ord">
          <ac:chgData name="Sasha Fay" userId="c632a18a-74fe-4787-b694-0afebe47ca1f" providerId="ADAL" clId="{679324A2-DAD8-4919-A61C-65663129C89D}" dt="2024-05-31T18:52:32.281" v="2406" actId="1076"/>
          <ac:spMkLst>
            <pc:docMk/>
            <pc:sldMk cId="2789125924" sldId="2147477715"/>
            <ac:spMk id="2" creationId="{2947E08C-4424-0F5F-3847-C5A5A94DFDAE}"/>
          </ac:spMkLst>
        </pc:spChg>
        <pc:spChg chg="add del mod ord">
          <ac:chgData name="Sasha Fay" userId="c632a18a-74fe-4787-b694-0afebe47ca1f" providerId="ADAL" clId="{679324A2-DAD8-4919-A61C-65663129C89D}" dt="2024-05-31T18:52:24.866" v="2382" actId="478"/>
          <ac:spMkLst>
            <pc:docMk/>
            <pc:sldMk cId="2789125924" sldId="2147477715"/>
            <ac:spMk id="3" creationId="{286B4AA9-C502-191F-AC0D-19427C86533C}"/>
          </ac:spMkLst>
        </pc:spChg>
        <pc:spChg chg="mod">
          <ac:chgData name="Sasha Fay" userId="c632a18a-74fe-4787-b694-0afebe47ca1f" providerId="ADAL" clId="{679324A2-DAD8-4919-A61C-65663129C89D}" dt="2024-05-31T19:18:46.539" v="2827" actId="113"/>
          <ac:spMkLst>
            <pc:docMk/>
            <pc:sldMk cId="2789125924" sldId="2147477715"/>
            <ac:spMk id="4" creationId="{91615A1A-20AA-E2E7-EEFA-57089B8D4806}"/>
          </ac:spMkLst>
        </pc:spChg>
        <pc:spChg chg="add mod">
          <ac:chgData name="Sasha Fay" userId="c632a18a-74fe-4787-b694-0afebe47ca1f" providerId="ADAL" clId="{679324A2-DAD8-4919-A61C-65663129C89D}" dt="2024-05-31T18:56:46.299" v="2610" actId="115"/>
          <ac:spMkLst>
            <pc:docMk/>
            <pc:sldMk cId="2789125924" sldId="2147477715"/>
            <ac:spMk id="7" creationId="{44C789B5-9C9A-8551-9CDF-7EFB63BF167C}"/>
          </ac:spMkLst>
        </pc:spChg>
        <pc:spChg chg="add mod ord">
          <ac:chgData name="Sasha Fay" userId="c632a18a-74fe-4787-b694-0afebe47ca1f" providerId="ADAL" clId="{679324A2-DAD8-4919-A61C-65663129C89D}" dt="2024-05-31T18:58:48.216" v="2696" actId="167"/>
          <ac:spMkLst>
            <pc:docMk/>
            <pc:sldMk cId="2789125924" sldId="2147477715"/>
            <ac:spMk id="8" creationId="{79390866-9009-3D99-8F6B-3E90E6E8762A}"/>
          </ac:spMkLst>
        </pc:spChg>
        <pc:picChg chg="add mod">
          <ac:chgData name="Sasha Fay" userId="c632a18a-74fe-4787-b694-0afebe47ca1f" providerId="ADAL" clId="{679324A2-DAD8-4919-A61C-65663129C89D}" dt="2024-05-31T18:54:35.834" v="2458" actId="1076"/>
          <ac:picMkLst>
            <pc:docMk/>
            <pc:sldMk cId="2789125924" sldId="2147477715"/>
            <ac:picMk id="6" creationId="{7ECA5BFC-54E1-45DC-6F39-D9F07FC4268B}"/>
          </ac:picMkLst>
        </pc:picChg>
      </pc:sldChg>
      <pc:sldChg chg="addSp delSp modSp new mod modClrScheme chgLayout">
        <pc:chgData name="Sasha Fay" userId="c632a18a-74fe-4787-b694-0afebe47ca1f" providerId="ADAL" clId="{679324A2-DAD8-4919-A61C-65663129C89D}" dt="2024-05-31T19:01:58.233" v="2809" actId="20577"/>
        <pc:sldMkLst>
          <pc:docMk/>
          <pc:sldMk cId="1623790298" sldId="2147477716"/>
        </pc:sldMkLst>
        <pc:spChg chg="del">
          <ac:chgData name="Sasha Fay" userId="c632a18a-74fe-4787-b694-0afebe47ca1f" providerId="ADAL" clId="{679324A2-DAD8-4919-A61C-65663129C89D}" dt="2024-05-31T19:01:56.185" v="2801" actId="700"/>
          <ac:spMkLst>
            <pc:docMk/>
            <pc:sldMk cId="1623790298" sldId="2147477716"/>
            <ac:spMk id="2" creationId="{BA3CE66A-DE67-54B0-FF5E-9934B6DA6E24}"/>
          </ac:spMkLst>
        </pc:spChg>
        <pc:spChg chg="mod ord">
          <ac:chgData name="Sasha Fay" userId="c632a18a-74fe-4787-b694-0afebe47ca1f" providerId="ADAL" clId="{679324A2-DAD8-4919-A61C-65663129C89D}" dt="2024-05-31T19:01:56.185" v="2801" actId="700"/>
          <ac:spMkLst>
            <pc:docMk/>
            <pc:sldMk cId="1623790298" sldId="2147477716"/>
            <ac:spMk id="3" creationId="{73B71FFB-8A0E-ECE2-AD95-69C324229C82}"/>
          </ac:spMkLst>
        </pc:spChg>
        <pc:spChg chg="del mod ord">
          <ac:chgData name="Sasha Fay" userId="c632a18a-74fe-4787-b694-0afebe47ca1f" providerId="ADAL" clId="{679324A2-DAD8-4919-A61C-65663129C89D}" dt="2024-05-31T19:01:56.185" v="2801" actId="700"/>
          <ac:spMkLst>
            <pc:docMk/>
            <pc:sldMk cId="1623790298" sldId="2147477716"/>
            <ac:spMk id="4" creationId="{8CD9CC79-2A3F-D175-694C-02EB761D77B5}"/>
          </ac:spMkLst>
        </pc:spChg>
        <pc:spChg chg="add mod ord">
          <ac:chgData name="Sasha Fay" userId="c632a18a-74fe-4787-b694-0afebe47ca1f" providerId="ADAL" clId="{679324A2-DAD8-4919-A61C-65663129C89D}" dt="2024-05-31T19:01:58.233" v="2809" actId="20577"/>
          <ac:spMkLst>
            <pc:docMk/>
            <pc:sldMk cId="1623790298" sldId="2147477716"/>
            <ac:spMk id="5" creationId="{B8C782FB-6F4B-0A1F-1CF2-476EC3F12646}"/>
          </ac:spMkLst>
        </pc:spChg>
      </pc:sldChg>
      <pc:sldChg chg="addSp modSp add del mod">
        <pc:chgData name="Sasha Fay" userId="c632a18a-74fe-4787-b694-0afebe47ca1f" providerId="ADAL" clId="{679324A2-DAD8-4919-A61C-65663129C89D}" dt="2024-05-31T19:20:40.134" v="2835" actId="47"/>
        <pc:sldMkLst>
          <pc:docMk/>
          <pc:sldMk cId="3922148348" sldId="2147477717"/>
        </pc:sldMkLst>
        <pc:spChg chg="add mod">
          <ac:chgData name="Sasha Fay" userId="c632a18a-74fe-4787-b694-0afebe47ca1f" providerId="ADAL" clId="{679324A2-DAD8-4919-A61C-65663129C89D}" dt="2024-05-31T19:20:09.721" v="2831" actId="1076"/>
          <ac:spMkLst>
            <pc:docMk/>
            <pc:sldMk cId="3922148348" sldId="2147477717"/>
            <ac:spMk id="5" creationId="{D4E6DFC7-E683-85B7-5DB9-07887692858F}"/>
          </ac:spMkLst>
        </pc:spChg>
      </pc:sldChg>
      <pc:sldChg chg="modSp add del mod">
        <pc:chgData name="Sasha Fay" userId="c632a18a-74fe-4787-b694-0afebe47ca1f" providerId="ADAL" clId="{679324A2-DAD8-4919-A61C-65663129C89D}" dt="2024-05-31T19:20:10.930" v="2832" actId="47"/>
        <pc:sldMkLst>
          <pc:docMk/>
          <pc:sldMk cId="3655002199" sldId="2147477718"/>
        </pc:sldMkLst>
        <pc:spChg chg="mod">
          <ac:chgData name="Sasha Fay" userId="c632a18a-74fe-4787-b694-0afebe47ca1f" providerId="ADAL" clId="{679324A2-DAD8-4919-A61C-65663129C89D}" dt="2024-05-31T19:20:06.007" v="2829" actId="21"/>
          <ac:spMkLst>
            <pc:docMk/>
            <pc:sldMk cId="3655002199" sldId="2147477718"/>
            <ac:spMk id="3" creationId="{1B12530B-E938-B287-B692-EE36A676EBD2}"/>
          </ac:spMkLst>
        </pc:spChg>
      </pc:sldChg>
      <pc:sldMasterChg chg="delSldLayout">
        <pc:chgData name="Sasha Fay" userId="c632a18a-74fe-4787-b694-0afebe47ca1f" providerId="ADAL" clId="{679324A2-DAD8-4919-A61C-65663129C89D}" dt="2024-05-31T19:20:40.134" v="2835" actId="47"/>
        <pc:sldMasterMkLst>
          <pc:docMk/>
          <pc:sldMasterMk cId="4279609546" sldId="2147483660"/>
        </pc:sldMasterMkLst>
        <pc:sldLayoutChg chg="del">
          <pc:chgData name="Sasha Fay" userId="c632a18a-74fe-4787-b694-0afebe47ca1f" providerId="ADAL" clId="{679324A2-DAD8-4919-A61C-65663129C89D}" dt="2024-05-31T19:20:40.134" v="2835" actId="47"/>
          <pc:sldLayoutMkLst>
            <pc:docMk/>
            <pc:sldMasterMk cId="4279609546" sldId="2147483660"/>
            <pc:sldLayoutMk cId="581310011" sldId="2147483680"/>
          </pc:sldLayoutMkLst>
        </pc:sldLayoutChg>
      </pc:sldMasterChg>
    </pc:docChg>
  </pc:docChgLst>
  <pc:docChgLst>
    <pc:chgData name="Yu Feng" userId="d25132d2-041e-44b6-b382-5ab6b8c98de4" providerId="ADAL" clId="{D373BF9D-B834-4498-9134-CDCDBCE6F32A}"/>
    <pc:docChg chg="undo custSel addSld delSld modSld">
      <pc:chgData name="Yu Feng" userId="d25132d2-041e-44b6-b382-5ab6b8c98de4" providerId="ADAL" clId="{D373BF9D-B834-4498-9134-CDCDBCE6F32A}" dt="2024-06-05T18:19:08.735" v="1515" actId="20577"/>
      <pc:docMkLst>
        <pc:docMk/>
      </pc:docMkLst>
      <pc:sldChg chg="modSp mod">
        <pc:chgData name="Yu Feng" userId="d25132d2-041e-44b6-b382-5ab6b8c98de4" providerId="ADAL" clId="{D373BF9D-B834-4498-9134-CDCDBCE6F32A}" dt="2024-06-05T17:58:25.466" v="1066" actId="1076"/>
        <pc:sldMkLst>
          <pc:docMk/>
          <pc:sldMk cId="1908266377" sldId="2147477698"/>
        </pc:sldMkLst>
        <pc:spChg chg="mod">
          <ac:chgData name="Yu Feng" userId="d25132d2-041e-44b6-b382-5ab6b8c98de4" providerId="ADAL" clId="{D373BF9D-B834-4498-9134-CDCDBCE6F32A}" dt="2024-06-05T15:49:09.002" v="94" actId="14100"/>
          <ac:spMkLst>
            <pc:docMk/>
            <pc:sldMk cId="1908266377" sldId="2147477698"/>
            <ac:spMk id="2" creationId="{F3768933-15EF-1018-A257-30CD5B991BCE}"/>
          </ac:spMkLst>
        </pc:spChg>
        <pc:spChg chg="mod">
          <ac:chgData name="Yu Feng" userId="d25132d2-041e-44b6-b382-5ab6b8c98de4" providerId="ADAL" clId="{D373BF9D-B834-4498-9134-CDCDBCE6F32A}" dt="2024-06-05T17:58:25.466" v="1066" actId="1076"/>
          <ac:spMkLst>
            <pc:docMk/>
            <pc:sldMk cId="1908266377" sldId="2147477698"/>
            <ac:spMk id="3" creationId="{EA7078CC-F422-DB4A-0767-9F7E4B53C623}"/>
          </ac:spMkLst>
        </pc:spChg>
      </pc:sldChg>
      <pc:sldChg chg="modSp mod">
        <pc:chgData name="Yu Feng" userId="d25132d2-041e-44b6-b382-5ab6b8c98de4" providerId="ADAL" clId="{D373BF9D-B834-4498-9134-CDCDBCE6F32A}" dt="2024-06-05T15:50:26.467" v="217" actId="20577"/>
        <pc:sldMkLst>
          <pc:docMk/>
          <pc:sldMk cId="3140413803" sldId="2147477702"/>
        </pc:sldMkLst>
        <pc:spChg chg="mod">
          <ac:chgData name="Yu Feng" userId="d25132d2-041e-44b6-b382-5ab6b8c98de4" providerId="ADAL" clId="{D373BF9D-B834-4498-9134-CDCDBCE6F32A}" dt="2024-06-05T15:50:26.467" v="217" actId="20577"/>
          <ac:spMkLst>
            <pc:docMk/>
            <pc:sldMk cId="3140413803" sldId="2147477702"/>
            <ac:spMk id="7" creationId="{BA6E78AA-45B4-F54F-7DB7-978845B16AC6}"/>
          </ac:spMkLst>
        </pc:spChg>
      </pc:sldChg>
      <pc:sldChg chg="del">
        <pc:chgData name="Yu Feng" userId="d25132d2-041e-44b6-b382-5ab6b8c98de4" providerId="ADAL" clId="{D373BF9D-B834-4498-9134-CDCDBCE6F32A}" dt="2024-06-05T18:13:53.108" v="1437" actId="47"/>
        <pc:sldMkLst>
          <pc:docMk/>
          <pc:sldMk cId="3646845262" sldId="2147477704"/>
        </pc:sldMkLst>
      </pc:sldChg>
      <pc:sldChg chg="del">
        <pc:chgData name="Yu Feng" userId="d25132d2-041e-44b6-b382-5ab6b8c98de4" providerId="ADAL" clId="{D373BF9D-B834-4498-9134-CDCDBCE6F32A}" dt="2024-06-05T18:13:53.246" v="1438" actId="47"/>
        <pc:sldMkLst>
          <pc:docMk/>
          <pc:sldMk cId="423450298" sldId="2147477705"/>
        </pc:sldMkLst>
      </pc:sldChg>
      <pc:sldChg chg="del">
        <pc:chgData name="Yu Feng" userId="d25132d2-041e-44b6-b382-5ab6b8c98de4" providerId="ADAL" clId="{D373BF9D-B834-4498-9134-CDCDBCE6F32A}" dt="2024-06-05T18:13:53.847" v="1439" actId="47"/>
        <pc:sldMkLst>
          <pc:docMk/>
          <pc:sldMk cId="909024994" sldId="2147477706"/>
        </pc:sldMkLst>
      </pc:sldChg>
      <pc:sldChg chg="del">
        <pc:chgData name="Yu Feng" userId="d25132d2-041e-44b6-b382-5ab6b8c98de4" providerId="ADAL" clId="{D373BF9D-B834-4498-9134-CDCDBCE6F32A}" dt="2024-06-05T18:13:54.464" v="1441" actId="47"/>
        <pc:sldMkLst>
          <pc:docMk/>
          <pc:sldMk cId="2971093757" sldId="2147477708"/>
        </pc:sldMkLst>
      </pc:sldChg>
      <pc:sldChg chg="del">
        <pc:chgData name="Yu Feng" userId="d25132d2-041e-44b6-b382-5ab6b8c98de4" providerId="ADAL" clId="{D373BF9D-B834-4498-9134-CDCDBCE6F32A}" dt="2024-06-05T18:13:55.297" v="1443" actId="47"/>
        <pc:sldMkLst>
          <pc:docMk/>
          <pc:sldMk cId="2845888680" sldId="2147477709"/>
        </pc:sldMkLst>
      </pc:sldChg>
      <pc:sldChg chg="del">
        <pc:chgData name="Yu Feng" userId="d25132d2-041e-44b6-b382-5ab6b8c98de4" providerId="ADAL" clId="{D373BF9D-B834-4498-9134-CDCDBCE6F32A}" dt="2024-06-05T18:13:54.796" v="1442" actId="47"/>
        <pc:sldMkLst>
          <pc:docMk/>
          <pc:sldMk cId="2346542189" sldId="2147477710"/>
        </pc:sldMkLst>
      </pc:sldChg>
      <pc:sldChg chg="del">
        <pc:chgData name="Yu Feng" userId="d25132d2-041e-44b6-b382-5ab6b8c98de4" providerId="ADAL" clId="{D373BF9D-B834-4498-9134-CDCDBCE6F32A}" dt="2024-06-05T18:13:55.713" v="1444" actId="47"/>
        <pc:sldMkLst>
          <pc:docMk/>
          <pc:sldMk cId="2669358637" sldId="2147477711"/>
        </pc:sldMkLst>
      </pc:sldChg>
      <pc:sldChg chg="del">
        <pc:chgData name="Yu Feng" userId="d25132d2-041e-44b6-b382-5ab6b8c98de4" providerId="ADAL" clId="{D373BF9D-B834-4498-9134-CDCDBCE6F32A}" dt="2024-06-05T18:13:54.026" v="1440" actId="47"/>
        <pc:sldMkLst>
          <pc:docMk/>
          <pc:sldMk cId="3997036326" sldId="2147477714"/>
        </pc:sldMkLst>
      </pc:sldChg>
      <pc:sldChg chg="addSp delSp modSp mod delAnim">
        <pc:chgData name="Yu Feng" userId="d25132d2-041e-44b6-b382-5ab6b8c98de4" providerId="ADAL" clId="{D373BF9D-B834-4498-9134-CDCDBCE6F32A}" dt="2024-06-05T17:45:31.420" v="823" actId="13822"/>
        <pc:sldMkLst>
          <pc:docMk/>
          <pc:sldMk cId="2789125924" sldId="2147477715"/>
        </pc:sldMkLst>
        <pc:spChg chg="mod">
          <ac:chgData name="Yu Feng" userId="d25132d2-041e-44b6-b382-5ab6b8c98de4" providerId="ADAL" clId="{D373BF9D-B834-4498-9134-CDCDBCE6F32A}" dt="2024-06-05T17:04:08.760" v="341" actId="20577"/>
          <ac:spMkLst>
            <pc:docMk/>
            <pc:sldMk cId="2789125924" sldId="2147477715"/>
            <ac:spMk id="2" creationId="{2947E08C-4424-0F5F-3847-C5A5A94DFDAE}"/>
          </ac:spMkLst>
        </pc:spChg>
        <pc:spChg chg="del">
          <ac:chgData name="Yu Feng" userId="d25132d2-041e-44b6-b382-5ab6b8c98de4" providerId="ADAL" clId="{D373BF9D-B834-4498-9134-CDCDBCE6F32A}" dt="2024-06-05T16:58:51.163" v="233" actId="478"/>
          <ac:spMkLst>
            <pc:docMk/>
            <pc:sldMk cId="2789125924" sldId="2147477715"/>
            <ac:spMk id="4" creationId="{91615A1A-20AA-E2E7-EEFA-57089B8D4806}"/>
          </ac:spMkLst>
        </pc:spChg>
        <pc:spChg chg="del">
          <ac:chgData name="Yu Feng" userId="d25132d2-041e-44b6-b382-5ab6b8c98de4" providerId="ADAL" clId="{D373BF9D-B834-4498-9134-CDCDBCE6F32A}" dt="2024-06-05T16:58:52.134" v="234" actId="478"/>
          <ac:spMkLst>
            <pc:docMk/>
            <pc:sldMk cId="2789125924" sldId="2147477715"/>
            <ac:spMk id="7" creationId="{44C789B5-9C9A-8551-9CDF-7EFB63BF167C}"/>
          </ac:spMkLst>
        </pc:spChg>
        <pc:spChg chg="del mod">
          <ac:chgData name="Yu Feng" userId="d25132d2-041e-44b6-b382-5ab6b8c98de4" providerId="ADAL" clId="{D373BF9D-B834-4498-9134-CDCDBCE6F32A}" dt="2024-06-05T17:19:52.150" v="531" actId="478"/>
          <ac:spMkLst>
            <pc:docMk/>
            <pc:sldMk cId="2789125924" sldId="2147477715"/>
            <ac:spMk id="8" creationId="{79390866-9009-3D99-8F6B-3E90E6E8762A}"/>
          </ac:spMkLst>
        </pc:spChg>
        <pc:spChg chg="add mod">
          <ac:chgData name="Yu Feng" userId="d25132d2-041e-44b6-b382-5ab6b8c98de4" providerId="ADAL" clId="{D373BF9D-B834-4498-9134-CDCDBCE6F32A}" dt="2024-06-05T17:16:08.197" v="427" actId="1076"/>
          <ac:spMkLst>
            <pc:docMk/>
            <pc:sldMk cId="2789125924" sldId="2147477715"/>
            <ac:spMk id="9" creationId="{76934E0F-0290-70C1-B073-D56327568566}"/>
          </ac:spMkLst>
        </pc:spChg>
        <pc:spChg chg="add mod">
          <ac:chgData name="Yu Feng" userId="d25132d2-041e-44b6-b382-5ab6b8c98de4" providerId="ADAL" clId="{D373BF9D-B834-4498-9134-CDCDBCE6F32A}" dt="2024-06-05T17:16:06.484" v="426" actId="1076"/>
          <ac:spMkLst>
            <pc:docMk/>
            <pc:sldMk cId="2789125924" sldId="2147477715"/>
            <ac:spMk id="10" creationId="{12BF508F-0FE3-2BB0-83B3-2B2E8DE40399}"/>
          </ac:spMkLst>
        </pc:spChg>
        <pc:spChg chg="add mod">
          <ac:chgData name="Yu Feng" userId="d25132d2-041e-44b6-b382-5ab6b8c98de4" providerId="ADAL" clId="{D373BF9D-B834-4498-9134-CDCDBCE6F32A}" dt="2024-06-05T17:21:00.271" v="532" actId="1076"/>
          <ac:spMkLst>
            <pc:docMk/>
            <pc:sldMk cId="2789125924" sldId="2147477715"/>
            <ac:spMk id="11" creationId="{4CDDA111-7770-E1E3-CEE7-A23DE6BE80AC}"/>
          </ac:spMkLst>
        </pc:spChg>
        <pc:spChg chg="add mod">
          <ac:chgData name="Yu Feng" userId="d25132d2-041e-44b6-b382-5ab6b8c98de4" providerId="ADAL" clId="{D373BF9D-B834-4498-9134-CDCDBCE6F32A}" dt="2024-06-05T17:12:58.883" v="394" actId="1076"/>
          <ac:spMkLst>
            <pc:docMk/>
            <pc:sldMk cId="2789125924" sldId="2147477715"/>
            <ac:spMk id="13" creationId="{D9128074-1A15-E3EC-364A-7A3A5ACD0435}"/>
          </ac:spMkLst>
        </pc:spChg>
        <pc:spChg chg="add mod ord">
          <ac:chgData name="Yu Feng" userId="d25132d2-041e-44b6-b382-5ab6b8c98de4" providerId="ADAL" clId="{D373BF9D-B834-4498-9134-CDCDBCE6F32A}" dt="2024-06-05T17:19:35.935" v="526" actId="166"/>
          <ac:spMkLst>
            <pc:docMk/>
            <pc:sldMk cId="2789125924" sldId="2147477715"/>
            <ac:spMk id="15" creationId="{A48C01CF-2832-A25C-074D-F30E9375CCF9}"/>
          </ac:spMkLst>
        </pc:spChg>
        <pc:spChg chg="add mod">
          <ac:chgData name="Yu Feng" userId="d25132d2-041e-44b6-b382-5ab6b8c98de4" providerId="ADAL" clId="{D373BF9D-B834-4498-9134-CDCDBCE6F32A}" dt="2024-06-05T17:21:47.459" v="540" actId="1076"/>
          <ac:spMkLst>
            <pc:docMk/>
            <pc:sldMk cId="2789125924" sldId="2147477715"/>
            <ac:spMk id="16" creationId="{B862201E-4EE6-CD75-B367-1CD0ECDD7F8F}"/>
          </ac:spMkLst>
        </pc:spChg>
        <pc:spChg chg="add mod ord">
          <ac:chgData name="Yu Feng" userId="d25132d2-041e-44b6-b382-5ab6b8c98de4" providerId="ADAL" clId="{D373BF9D-B834-4498-9134-CDCDBCE6F32A}" dt="2024-06-05T17:18:03.148" v="491" actId="14100"/>
          <ac:spMkLst>
            <pc:docMk/>
            <pc:sldMk cId="2789125924" sldId="2147477715"/>
            <ac:spMk id="17" creationId="{1E1CAE83-7F11-D6AD-A15E-A3A559710039}"/>
          </ac:spMkLst>
        </pc:spChg>
        <pc:spChg chg="add mod ord">
          <ac:chgData name="Yu Feng" userId="d25132d2-041e-44b6-b382-5ab6b8c98de4" providerId="ADAL" clId="{D373BF9D-B834-4498-9134-CDCDBCE6F32A}" dt="2024-06-05T17:18:35.256" v="499" actId="207"/>
          <ac:spMkLst>
            <pc:docMk/>
            <pc:sldMk cId="2789125924" sldId="2147477715"/>
            <ac:spMk id="18" creationId="{C6FCEA45-1F6F-3910-18FC-E26F1E3A878C}"/>
          </ac:spMkLst>
        </pc:spChg>
        <pc:spChg chg="add mod">
          <ac:chgData name="Yu Feng" userId="d25132d2-041e-44b6-b382-5ab6b8c98de4" providerId="ADAL" clId="{D373BF9D-B834-4498-9134-CDCDBCE6F32A}" dt="2024-06-05T17:21:45.137" v="539" actId="1076"/>
          <ac:spMkLst>
            <pc:docMk/>
            <pc:sldMk cId="2789125924" sldId="2147477715"/>
            <ac:spMk id="19" creationId="{C1E490B6-3BEA-ED6F-A3E4-5DDA5B54EECF}"/>
          </ac:spMkLst>
        </pc:spChg>
        <pc:spChg chg="add mod ord">
          <ac:chgData name="Yu Feng" userId="d25132d2-041e-44b6-b382-5ab6b8c98de4" providerId="ADAL" clId="{D373BF9D-B834-4498-9134-CDCDBCE6F32A}" dt="2024-06-05T17:19:44.872" v="528" actId="171"/>
          <ac:spMkLst>
            <pc:docMk/>
            <pc:sldMk cId="2789125924" sldId="2147477715"/>
            <ac:spMk id="20" creationId="{B0F7A898-DA6B-4D94-4F4F-E14E39D83819}"/>
          </ac:spMkLst>
        </pc:spChg>
        <pc:spChg chg="add mod">
          <ac:chgData name="Yu Feng" userId="d25132d2-041e-44b6-b382-5ab6b8c98de4" providerId="ADAL" clId="{D373BF9D-B834-4498-9134-CDCDBCE6F32A}" dt="2024-06-05T17:21:50.118" v="541" actId="1076"/>
          <ac:spMkLst>
            <pc:docMk/>
            <pc:sldMk cId="2789125924" sldId="2147477715"/>
            <ac:spMk id="21" creationId="{06A46419-E28C-CDEB-506B-DD5967D01AAF}"/>
          </ac:spMkLst>
        </pc:spChg>
        <pc:spChg chg="add mod">
          <ac:chgData name="Yu Feng" userId="d25132d2-041e-44b6-b382-5ab6b8c98de4" providerId="ADAL" clId="{D373BF9D-B834-4498-9134-CDCDBCE6F32A}" dt="2024-06-05T17:21:32.071" v="538" actId="1076"/>
          <ac:spMkLst>
            <pc:docMk/>
            <pc:sldMk cId="2789125924" sldId="2147477715"/>
            <ac:spMk id="22" creationId="{49D8E7B3-33BC-B0ED-D346-25A3CDFF3B48}"/>
          </ac:spMkLst>
        </pc:spChg>
        <pc:spChg chg="add mod">
          <ac:chgData name="Yu Feng" userId="d25132d2-041e-44b6-b382-5ab6b8c98de4" providerId="ADAL" clId="{D373BF9D-B834-4498-9134-CDCDBCE6F32A}" dt="2024-06-05T17:21:29.448" v="537" actId="1076"/>
          <ac:spMkLst>
            <pc:docMk/>
            <pc:sldMk cId="2789125924" sldId="2147477715"/>
            <ac:spMk id="23" creationId="{E2662440-DF6C-9AB3-3129-FA5AAF08AD10}"/>
          </ac:spMkLst>
        </pc:spChg>
        <pc:spChg chg="add mod">
          <ac:chgData name="Yu Feng" userId="d25132d2-041e-44b6-b382-5ab6b8c98de4" providerId="ADAL" clId="{D373BF9D-B834-4498-9134-CDCDBCE6F32A}" dt="2024-06-05T17:28:13.452" v="720" actId="1076"/>
          <ac:spMkLst>
            <pc:docMk/>
            <pc:sldMk cId="2789125924" sldId="2147477715"/>
            <ac:spMk id="26" creationId="{1E36C9D3-2005-3DF4-15CE-A25D13630C88}"/>
          </ac:spMkLst>
        </pc:spChg>
        <pc:spChg chg="add mod">
          <ac:chgData name="Yu Feng" userId="d25132d2-041e-44b6-b382-5ab6b8c98de4" providerId="ADAL" clId="{D373BF9D-B834-4498-9134-CDCDBCE6F32A}" dt="2024-06-05T17:29:08.999" v="760" actId="1076"/>
          <ac:spMkLst>
            <pc:docMk/>
            <pc:sldMk cId="2789125924" sldId="2147477715"/>
            <ac:spMk id="28" creationId="{ED5114A2-1447-6118-DB3A-5F8E44ED1144}"/>
          </ac:spMkLst>
        </pc:spChg>
        <pc:spChg chg="add del mod">
          <ac:chgData name="Yu Feng" userId="d25132d2-041e-44b6-b382-5ab6b8c98de4" providerId="ADAL" clId="{D373BF9D-B834-4498-9134-CDCDBCE6F32A}" dt="2024-06-05T17:45:05.543" v="795" actId="478"/>
          <ac:spMkLst>
            <pc:docMk/>
            <pc:sldMk cId="2789125924" sldId="2147477715"/>
            <ac:spMk id="29" creationId="{6797DDC6-507C-DA48-5669-DD96B588BE4E}"/>
          </ac:spMkLst>
        </pc:spChg>
        <pc:spChg chg="add mod">
          <ac:chgData name="Yu Feng" userId="d25132d2-041e-44b6-b382-5ab6b8c98de4" providerId="ADAL" clId="{D373BF9D-B834-4498-9134-CDCDBCE6F32A}" dt="2024-06-05T17:45:31.420" v="823" actId="13822"/>
          <ac:spMkLst>
            <pc:docMk/>
            <pc:sldMk cId="2789125924" sldId="2147477715"/>
            <ac:spMk id="30" creationId="{52919839-62F9-F024-831D-65605B9946EC}"/>
          </ac:spMkLst>
        </pc:spChg>
        <pc:graphicFrameChg chg="add mod modGraphic">
          <ac:chgData name="Yu Feng" userId="d25132d2-041e-44b6-b382-5ab6b8c98de4" providerId="ADAL" clId="{D373BF9D-B834-4498-9134-CDCDBCE6F32A}" dt="2024-06-05T17:24:20.012" v="641" actId="20577"/>
          <ac:graphicFrameMkLst>
            <pc:docMk/>
            <pc:sldMk cId="2789125924" sldId="2147477715"/>
            <ac:graphicFrameMk id="24" creationId="{B7476FAF-7BF4-AE2F-6F80-2A75D0502646}"/>
          </ac:graphicFrameMkLst>
        </pc:graphicFrameChg>
        <pc:graphicFrameChg chg="add mod modGraphic">
          <ac:chgData name="Yu Feng" userId="d25132d2-041e-44b6-b382-5ab6b8c98de4" providerId="ADAL" clId="{D373BF9D-B834-4498-9134-CDCDBCE6F32A}" dt="2024-06-05T17:25:26.106" v="718" actId="20577"/>
          <ac:graphicFrameMkLst>
            <pc:docMk/>
            <pc:sldMk cId="2789125924" sldId="2147477715"/>
            <ac:graphicFrameMk id="25" creationId="{F3D0B2D2-6A17-C40F-6B85-E7200DD6484A}"/>
          </ac:graphicFrameMkLst>
        </pc:graphicFrameChg>
        <pc:graphicFrameChg chg="add mod modGraphic">
          <ac:chgData name="Yu Feng" userId="d25132d2-041e-44b6-b382-5ab6b8c98de4" providerId="ADAL" clId="{D373BF9D-B834-4498-9134-CDCDBCE6F32A}" dt="2024-06-05T17:29:49.431" v="789" actId="20577"/>
          <ac:graphicFrameMkLst>
            <pc:docMk/>
            <pc:sldMk cId="2789125924" sldId="2147477715"/>
            <ac:graphicFrameMk id="27" creationId="{BA12121C-B27F-5A1A-B41D-BF7968DABE7D}"/>
          </ac:graphicFrameMkLst>
        </pc:graphicFrameChg>
        <pc:picChg chg="del">
          <ac:chgData name="Yu Feng" userId="d25132d2-041e-44b6-b382-5ab6b8c98de4" providerId="ADAL" clId="{D373BF9D-B834-4498-9134-CDCDBCE6F32A}" dt="2024-06-05T16:58:52.919" v="235" actId="478"/>
          <ac:picMkLst>
            <pc:docMk/>
            <pc:sldMk cId="2789125924" sldId="2147477715"/>
            <ac:picMk id="6" creationId="{7ECA5BFC-54E1-45DC-6F39-D9F07FC4268B}"/>
          </ac:picMkLst>
        </pc:picChg>
        <pc:picChg chg="add mod modCrop">
          <ac:chgData name="Yu Feng" userId="d25132d2-041e-44b6-b382-5ab6b8c98de4" providerId="ADAL" clId="{D373BF9D-B834-4498-9134-CDCDBCE6F32A}" dt="2024-06-05T17:12:44.564" v="365" actId="1076"/>
          <ac:picMkLst>
            <pc:docMk/>
            <pc:sldMk cId="2789125924" sldId="2147477715"/>
            <ac:picMk id="12" creationId="{17AC3C99-7DC0-8D8B-6B0B-2C1F4BFBF027}"/>
          </ac:picMkLst>
        </pc:picChg>
        <pc:picChg chg="add del mod">
          <ac:chgData name="Yu Feng" userId="d25132d2-041e-44b6-b382-5ab6b8c98de4" providerId="ADAL" clId="{D373BF9D-B834-4498-9134-CDCDBCE6F32A}" dt="2024-06-05T17:13:25.913" v="420" actId="478"/>
          <ac:picMkLst>
            <pc:docMk/>
            <pc:sldMk cId="2789125924" sldId="2147477715"/>
            <ac:picMk id="14" creationId="{BF73D0BC-AB78-AF78-AC51-80F418C75B53}"/>
          </ac:picMkLst>
        </pc:picChg>
        <pc:picChg chg="add mod">
          <ac:chgData name="Yu Feng" userId="d25132d2-041e-44b6-b382-5ab6b8c98de4" providerId="ADAL" clId="{D373BF9D-B834-4498-9134-CDCDBCE6F32A}" dt="2024-06-05T17:16:06.484" v="426" actId="1076"/>
          <ac:picMkLst>
            <pc:docMk/>
            <pc:sldMk cId="2789125924" sldId="2147477715"/>
            <ac:picMk id="1026" creationId="{33A768E2-3DFD-60DF-7136-D10691A721C9}"/>
          </ac:picMkLst>
        </pc:picChg>
        <pc:picChg chg="add mod">
          <ac:chgData name="Yu Feng" userId="d25132d2-041e-44b6-b382-5ab6b8c98de4" providerId="ADAL" clId="{D373BF9D-B834-4498-9134-CDCDBCE6F32A}" dt="2024-06-05T17:13:04.179" v="395" actId="1076"/>
          <ac:picMkLst>
            <pc:docMk/>
            <pc:sldMk cId="2789125924" sldId="2147477715"/>
            <ac:picMk id="1028" creationId="{590A5DF9-31A0-5F6B-544D-BD0CFD6EF903}"/>
          </ac:picMkLst>
        </pc:picChg>
        <pc:picChg chg="add mod">
          <ac:chgData name="Yu Feng" userId="d25132d2-041e-44b6-b382-5ab6b8c98de4" providerId="ADAL" clId="{D373BF9D-B834-4498-9134-CDCDBCE6F32A}" dt="2024-06-05T17:19:29.023" v="524" actId="166"/>
          <ac:picMkLst>
            <pc:docMk/>
            <pc:sldMk cId="2789125924" sldId="2147477715"/>
            <ac:picMk id="1030" creationId="{ADD34D36-87D7-0ED4-4122-AA55E6C7350C}"/>
          </ac:picMkLst>
        </pc:picChg>
        <pc:cxnChg chg="add del">
          <ac:chgData name="Yu Feng" userId="d25132d2-041e-44b6-b382-5ab6b8c98de4" providerId="ADAL" clId="{D373BF9D-B834-4498-9134-CDCDBCE6F32A}" dt="2024-06-05T16:59:52.122" v="242" actId="478"/>
          <ac:cxnSpMkLst>
            <pc:docMk/>
            <pc:sldMk cId="2789125924" sldId="2147477715"/>
            <ac:cxnSpMk id="5" creationId="{F40C9F72-9D3D-4EE8-52D0-C23F85837034}"/>
          </ac:cxnSpMkLst>
        </pc:cxnChg>
      </pc:sldChg>
      <pc:sldChg chg="del">
        <pc:chgData name="Yu Feng" userId="d25132d2-041e-44b6-b382-5ab6b8c98de4" providerId="ADAL" clId="{D373BF9D-B834-4498-9134-CDCDBCE6F32A}" dt="2024-06-05T18:13:58.392" v="1447" actId="47"/>
        <pc:sldMkLst>
          <pc:docMk/>
          <pc:sldMk cId="1623790298" sldId="2147477716"/>
        </pc:sldMkLst>
      </pc:sldChg>
      <pc:sldChg chg="del">
        <pc:chgData name="Yu Feng" userId="d25132d2-041e-44b6-b382-5ab6b8c98de4" providerId="ADAL" clId="{D373BF9D-B834-4498-9134-CDCDBCE6F32A}" dt="2024-06-05T18:13:56.601" v="1446" actId="47"/>
        <pc:sldMkLst>
          <pc:docMk/>
          <pc:sldMk cId="2621425303" sldId="2147477717"/>
        </pc:sldMkLst>
      </pc:sldChg>
      <pc:sldChg chg="del">
        <pc:chgData name="Yu Feng" userId="d25132d2-041e-44b6-b382-5ab6b8c98de4" providerId="ADAL" clId="{D373BF9D-B834-4498-9134-CDCDBCE6F32A}" dt="2024-06-05T18:13:56.152" v="1445" actId="47"/>
        <pc:sldMkLst>
          <pc:docMk/>
          <pc:sldMk cId="28720817" sldId="2147477718"/>
        </pc:sldMkLst>
      </pc:sldChg>
      <pc:sldChg chg="addSp delSp modSp new mod">
        <pc:chgData name="Yu Feng" userId="d25132d2-041e-44b6-b382-5ab6b8c98de4" providerId="ADAL" clId="{D373BF9D-B834-4498-9134-CDCDBCE6F32A}" dt="2024-06-05T18:16:54.923" v="1505" actId="113"/>
        <pc:sldMkLst>
          <pc:docMk/>
          <pc:sldMk cId="2419666905" sldId="2147477719"/>
        </pc:sldMkLst>
        <pc:spChg chg="del">
          <ac:chgData name="Yu Feng" userId="d25132d2-041e-44b6-b382-5ab6b8c98de4" providerId="ADAL" clId="{D373BF9D-B834-4498-9134-CDCDBCE6F32A}" dt="2024-06-05T17:47:31.210" v="936" actId="478"/>
          <ac:spMkLst>
            <pc:docMk/>
            <pc:sldMk cId="2419666905" sldId="2147477719"/>
            <ac:spMk id="2" creationId="{C9BE9054-6416-8F8D-5D62-DC15CFC8AD8C}"/>
          </ac:spMkLst>
        </pc:spChg>
        <pc:spChg chg="mod">
          <ac:chgData name="Yu Feng" userId="d25132d2-041e-44b6-b382-5ab6b8c98de4" providerId="ADAL" clId="{D373BF9D-B834-4498-9134-CDCDBCE6F32A}" dt="2024-06-05T17:47:23.289" v="935" actId="1076"/>
          <ac:spMkLst>
            <pc:docMk/>
            <pc:sldMk cId="2419666905" sldId="2147477719"/>
            <ac:spMk id="4" creationId="{827780BA-118E-1501-A56C-0C39349F1239}"/>
          </ac:spMkLst>
        </pc:spChg>
        <pc:spChg chg="add mod">
          <ac:chgData name="Yu Feng" userId="d25132d2-041e-44b6-b382-5ab6b8c98de4" providerId="ADAL" clId="{D373BF9D-B834-4498-9134-CDCDBCE6F32A}" dt="2024-06-05T18:16:54.923" v="1505" actId="113"/>
          <ac:spMkLst>
            <pc:docMk/>
            <pc:sldMk cId="2419666905" sldId="2147477719"/>
            <ac:spMk id="6" creationId="{B84F6E05-A49E-A33B-BEF1-EB13C0F7A44C}"/>
          </ac:spMkLst>
        </pc:spChg>
        <pc:spChg chg="add mod">
          <ac:chgData name="Yu Feng" userId="d25132d2-041e-44b6-b382-5ab6b8c98de4" providerId="ADAL" clId="{D373BF9D-B834-4498-9134-CDCDBCE6F32A}" dt="2024-06-05T18:08:48.107" v="1235" actId="1076"/>
          <ac:spMkLst>
            <pc:docMk/>
            <pc:sldMk cId="2419666905" sldId="2147477719"/>
            <ac:spMk id="7" creationId="{6E767CDA-A33F-C0E7-0D1E-67EDAF0F46C7}"/>
          </ac:spMkLst>
        </pc:spChg>
        <pc:spChg chg="add mod">
          <ac:chgData name="Yu Feng" userId="d25132d2-041e-44b6-b382-5ab6b8c98de4" providerId="ADAL" clId="{D373BF9D-B834-4498-9134-CDCDBCE6F32A}" dt="2024-06-05T18:02:52.135" v="1165" actId="13822"/>
          <ac:spMkLst>
            <pc:docMk/>
            <pc:sldMk cId="2419666905" sldId="2147477719"/>
            <ac:spMk id="8" creationId="{9D451206-16DA-3AA0-96C4-5FD25EB8035B}"/>
          </ac:spMkLst>
        </pc:spChg>
        <pc:spChg chg="add mod">
          <ac:chgData name="Yu Feng" userId="d25132d2-041e-44b6-b382-5ab6b8c98de4" providerId="ADAL" clId="{D373BF9D-B834-4498-9134-CDCDBCE6F32A}" dt="2024-06-05T18:11:26.713" v="1305" actId="20577"/>
          <ac:spMkLst>
            <pc:docMk/>
            <pc:sldMk cId="2419666905" sldId="2147477719"/>
            <ac:spMk id="10" creationId="{AA6C4597-C08C-871A-30B2-E5CAC2D3A2D5}"/>
          </ac:spMkLst>
        </pc:spChg>
        <pc:spChg chg="add mod">
          <ac:chgData name="Yu Feng" userId="d25132d2-041e-44b6-b382-5ab6b8c98de4" providerId="ADAL" clId="{D373BF9D-B834-4498-9134-CDCDBCE6F32A}" dt="2024-06-05T18:10:37.521" v="1274" actId="1076"/>
          <ac:spMkLst>
            <pc:docMk/>
            <pc:sldMk cId="2419666905" sldId="2147477719"/>
            <ac:spMk id="11" creationId="{B8389611-0C9E-2B93-D40E-AD3FBF9B4D50}"/>
          </ac:spMkLst>
        </pc:spChg>
        <pc:spChg chg="add mod">
          <ac:chgData name="Yu Feng" userId="d25132d2-041e-44b6-b382-5ab6b8c98de4" providerId="ADAL" clId="{D373BF9D-B834-4498-9134-CDCDBCE6F32A}" dt="2024-06-05T18:11:57.863" v="1316" actId="20577"/>
          <ac:spMkLst>
            <pc:docMk/>
            <pc:sldMk cId="2419666905" sldId="2147477719"/>
            <ac:spMk id="13" creationId="{E87BED3A-BCAC-9BBE-B62F-DEC0097586B1}"/>
          </ac:spMkLst>
        </pc:spChg>
        <pc:spChg chg="add mod">
          <ac:chgData name="Yu Feng" userId="d25132d2-041e-44b6-b382-5ab6b8c98de4" providerId="ADAL" clId="{D373BF9D-B834-4498-9134-CDCDBCE6F32A}" dt="2024-06-05T18:13:05.291" v="1403" actId="1076"/>
          <ac:spMkLst>
            <pc:docMk/>
            <pc:sldMk cId="2419666905" sldId="2147477719"/>
            <ac:spMk id="14" creationId="{459BAA95-2339-90CD-7992-26471810E90A}"/>
          </ac:spMkLst>
        </pc:spChg>
        <pc:spChg chg="add mod">
          <ac:chgData name="Yu Feng" userId="d25132d2-041e-44b6-b382-5ab6b8c98de4" providerId="ADAL" clId="{D373BF9D-B834-4498-9134-CDCDBCE6F32A}" dt="2024-06-05T18:11:10.997" v="1302" actId="1076"/>
          <ac:spMkLst>
            <pc:docMk/>
            <pc:sldMk cId="2419666905" sldId="2147477719"/>
            <ac:spMk id="16" creationId="{1F8DA71C-1BE5-9C94-39AC-CC1F5A4833BA}"/>
          </ac:spMkLst>
        </pc:spChg>
        <pc:spChg chg="add mod">
          <ac:chgData name="Yu Feng" userId="d25132d2-041e-44b6-b382-5ab6b8c98de4" providerId="ADAL" clId="{D373BF9D-B834-4498-9134-CDCDBCE6F32A}" dt="2024-06-05T18:12:20.737" v="1358" actId="1076"/>
          <ac:spMkLst>
            <pc:docMk/>
            <pc:sldMk cId="2419666905" sldId="2147477719"/>
            <ac:spMk id="17" creationId="{71400392-4FDD-7C95-217E-98B48A4422B6}"/>
          </ac:spMkLst>
        </pc:spChg>
        <pc:spChg chg="add mod">
          <ac:chgData name="Yu Feng" userId="d25132d2-041e-44b6-b382-5ab6b8c98de4" providerId="ADAL" clId="{D373BF9D-B834-4498-9134-CDCDBCE6F32A}" dt="2024-06-05T18:13:04.108" v="1402" actId="1076"/>
          <ac:spMkLst>
            <pc:docMk/>
            <pc:sldMk cId="2419666905" sldId="2147477719"/>
            <ac:spMk id="18" creationId="{D2D87800-3400-F7B8-8B6C-D236D6D1F43A}"/>
          </ac:spMkLst>
        </pc:spChg>
        <pc:graphicFrameChg chg="add mod">
          <ac:chgData name="Yu Feng" userId="d25132d2-041e-44b6-b382-5ab6b8c98de4" providerId="ADAL" clId="{D373BF9D-B834-4498-9134-CDCDBCE6F32A}" dt="2024-06-05T18:13:04.108" v="1402" actId="1076"/>
          <ac:graphicFrameMkLst>
            <pc:docMk/>
            <pc:sldMk cId="2419666905" sldId="2147477719"/>
            <ac:graphicFrameMk id="15" creationId="{8D1734A3-B0BD-9EA0-CCE6-8D443BDE4B2B}"/>
          </ac:graphicFrameMkLst>
        </pc:graphicFrameChg>
        <pc:picChg chg="add mod">
          <ac:chgData name="Yu Feng" userId="d25132d2-041e-44b6-b382-5ab6b8c98de4" providerId="ADAL" clId="{D373BF9D-B834-4498-9134-CDCDBCE6F32A}" dt="2024-06-05T17:53:52.170" v="962" actId="1076"/>
          <ac:picMkLst>
            <pc:docMk/>
            <pc:sldMk cId="2419666905" sldId="2147477719"/>
            <ac:picMk id="5" creationId="{0202F7EE-D4B0-674D-AC7E-8EDA7C78B1A8}"/>
          </ac:picMkLst>
        </pc:picChg>
        <pc:picChg chg="add mod">
          <ac:chgData name="Yu Feng" userId="d25132d2-041e-44b6-b382-5ab6b8c98de4" providerId="ADAL" clId="{D373BF9D-B834-4498-9134-CDCDBCE6F32A}" dt="2024-06-05T18:01:58.343" v="1086" actId="1076"/>
          <ac:picMkLst>
            <pc:docMk/>
            <pc:sldMk cId="2419666905" sldId="2147477719"/>
            <ac:picMk id="2050" creationId="{F6513E25-C547-F156-8451-50381187E1FA}"/>
          </ac:picMkLst>
        </pc:picChg>
        <pc:picChg chg="add mod">
          <ac:chgData name="Yu Feng" userId="d25132d2-041e-44b6-b382-5ab6b8c98de4" providerId="ADAL" clId="{D373BF9D-B834-4498-9134-CDCDBCE6F32A}" dt="2024-06-05T18:01:58.343" v="1086" actId="1076"/>
          <ac:picMkLst>
            <pc:docMk/>
            <pc:sldMk cId="2419666905" sldId="2147477719"/>
            <ac:picMk id="2052" creationId="{3D2EBBF1-CD24-1615-820F-B64A5AD36F0C}"/>
          </ac:picMkLst>
        </pc:picChg>
        <pc:picChg chg="add mod">
          <ac:chgData name="Yu Feng" userId="d25132d2-041e-44b6-b382-5ab6b8c98de4" providerId="ADAL" clId="{D373BF9D-B834-4498-9134-CDCDBCE6F32A}" dt="2024-06-05T18:01:58.343" v="1086" actId="1076"/>
          <ac:picMkLst>
            <pc:docMk/>
            <pc:sldMk cId="2419666905" sldId="2147477719"/>
            <ac:picMk id="2054" creationId="{28879291-4E40-594A-9D06-DBD97D185906}"/>
          </ac:picMkLst>
        </pc:picChg>
      </pc:sldChg>
      <pc:sldChg chg="addSp delSp modSp add mod">
        <pc:chgData name="Yu Feng" userId="d25132d2-041e-44b6-b382-5ab6b8c98de4" providerId="ADAL" clId="{D373BF9D-B834-4498-9134-CDCDBCE6F32A}" dt="2024-06-05T18:19:05.398" v="1512" actId="20577"/>
        <pc:sldMkLst>
          <pc:docMk/>
          <pc:sldMk cId="1210089406" sldId="2147477720"/>
        </pc:sldMkLst>
        <pc:spChg chg="add del mod">
          <ac:chgData name="Yu Feng" userId="d25132d2-041e-44b6-b382-5ab6b8c98de4" providerId="ADAL" clId="{D373BF9D-B834-4498-9134-CDCDBCE6F32A}" dt="2024-06-05T18:13:48.481" v="1436" actId="478"/>
          <ac:spMkLst>
            <pc:docMk/>
            <pc:sldMk cId="1210089406" sldId="2147477720"/>
            <ac:spMk id="3" creationId="{A0AA3CD1-0F9D-176A-90DF-7C12A78E0651}"/>
          </ac:spMkLst>
        </pc:spChg>
        <pc:spChg chg="mod">
          <ac:chgData name="Yu Feng" userId="d25132d2-041e-44b6-b382-5ab6b8c98de4" providerId="ADAL" clId="{D373BF9D-B834-4498-9134-CDCDBCE6F32A}" dt="2024-06-05T18:19:05.398" v="1512" actId="20577"/>
          <ac:spMkLst>
            <pc:docMk/>
            <pc:sldMk cId="1210089406" sldId="2147477720"/>
            <ac:spMk id="6" creationId="{3ED76415-844C-E614-BC07-3F278A0D0DE8}"/>
          </ac:spMkLst>
        </pc:spChg>
        <pc:spChg chg="del">
          <ac:chgData name="Yu Feng" userId="d25132d2-041e-44b6-b382-5ab6b8c98de4" providerId="ADAL" clId="{D373BF9D-B834-4498-9134-CDCDBCE6F32A}" dt="2024-06-05T18:13:46.692" v="1435" actId="478"/>
          <ac:spMkLst>
            <pc:docMk/>
            <pc:sldMk cId="1210089406" sldId="2147477720"/>
            <ac:spMk id="7" creationId="{BA6E78AA-45B4-F54F-7DB7-978845B16AC6}"/>
          </ac:spMkLst>
        </pc:spChg>
      </pc:sldChg>
      <pc:sldChg chg="addSp modSp add mod">
        <pc:chgData name="Yu Feng" userId="d25132d2-041e-44b6-b382-5ab6b8c98de4" providerId="ADAL" clId="{D373BF9D-B834-4498-9134-CDCDBCE6F32A}" dt="2024-06-05T18:15:40.954" v="1492" actId="20577"/>
        <pc:sldMkLst>
          <pc:docMk/>
          <pc:sldMk cId="1052365443" sldId="2147477721"/>
        </pc:sldMkLst>
        <pc:spChg chg="add mod">
          <ac:chgData name="Yu Feng" userId="d25132d2-041e-44b6-b382-5ab6b8c98de4" providerId="ADAL" clId="{D373BF9D-B834-4498-9134-CDCDBCE6F32A}" dt="2024-06-05T18:15:40.954" v="1492" actId="20577"/>
          <ac:spMkLst>
            <pc:docMk/>
            <pc:sldMk cId="1052365443" sldId="2147477721"/>
            <ac:spMk id="2" creationId="{A21D4E3F-F92C-6805-1D55-153CC11933BC}"/>
          </ac:spMkLst>
        </pc:spChg>
        <pc:spChg chg="mod">
          <ac:chgData name="Yu Feng" userId="d25132d2-041e-44b6-b382-5ab6b8c98de4" providerId="ADAL" clId="{D373BF9D-B834-4498-9134-CDCDBCE6F32A}" dt="2024-06-05T18:14:51.372" v="1467" actId="20577"/>
          <ac:spMkLst>
            <pc:docMk/>
            <pc:sldMk cId="1052365443" sldId="2147477721"/>
            <ac:spMk id="6" creationId="{3ED76415-844C-E614-BC07-3F278A0D0DE8}"/>
          </ac:spMkLst>
        </pc:spChg>
      </pc:sldChg>
      <pc:sldChg chg="modSp add mod">
        <pc:chgData name="Yu Feng" userId="d25132d2-041e-44b6-b382-5ab6b8c98de4" providerId="ADAL" clId="{D373BF9D-B834-4498-9134-CDCDBCE6F32A}" dt="2024-06-05T18:19:08.735" v="1515" actId="20577"/>
        <pc:sldMkLst>
          <pc:docMk/>
          <pc:sldMk cId="4027080627" sldId="2147477722"/>
        </pc:sldMkLst>
        <pc:spChg chg="mod">
          <ac:chgData name="Yu Feng" userId="d25132d2-041e-44b6-b382-5ab6b8c98de4" providerId="ADAL" clId="{D373BF9D-B834-4498-9134-CDCDBCE6F32A}" dt="2024-06-05T18:19:08.735" v="1515" actId="20577"/>
          <ac:spMkLst>
            <pc:docMk/>
            <pc:sldMk cId="4027080627" sldId="2147477722"/>
            <ac:spMk id="6" creationId="{3ED76415-844C-E614-BC07-3F278A0D0DE8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69567D9-4E5C-4283-940C-8AB555041ABD}" type="doc">
      <dgm:prSet loTypeId="urn:microsoft.com/office/officeart/2005/8/layout/hProcess7" loCatId="list" qsTypeId="urn:microsoft.com/office/officeart/2005/8/quickstyle/simple1" qsCatId="simple" csTypeId="urn:microsoft.com/office/officeart/2005/8/colors/accent6_3" csCatId="accent6" phldr="1"/>
      <dgm:spPr/>
      <dgm:t>
        <a:bodyPr/>
        <a:lstStyle/>
        <a:p>
          <a:endParaRPr lang="en-US"/>
        </a:p>
      </dgm:t>
    </dgm:pt>
    <dgm:pt modelId="{484CB62F-DDB7-45E2-B1F7-7921362380CA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Need Assessment Planning</a:t>
          </a:r>
        </a:p>
      </dgm:t>
    </dgm:pt>
    <dgm:pt modelId="{AB32D680-2491-4696-84DE-5999BC9BEA43}" type="parTrans" cxnId="{90537479-BA9A-42C9-8ADF-840824809FB8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C84D05B-67A8-449A-BC59-7F262C023386}" type="sibTrans" cxnId="{90537479-BA9A-42C9-8ADF-840824809FB8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0EEDECA-CB11-4BF0-A6F4-8B8C85479300}">
      <dgm:prSet phldrT="[Text]" custT="1"/>
      <dgm:spPr/>
      <dgm:t>
        <a:bodyPr/>
        <a:lstStyle/>
        <a:p>
          <a:r>
            <a:rPr lang="en-US" sz="1400" dirty="0">
              <a:solidFill>
                <a:schemeClr val="tx1"/>
              </a:solidFill>
            </a:rPr>
            <a:t>- Conduct a detailed analysis of the types of queries received by the P&amp;C team.</a:t>
          </a:r>
        </a:p>
      </dgm:t>
    </dgm:pt>
    <dgm:pt modelId="{B3B1048B-9AE7-4818-A2AB-CB15248AF8DE}" type="parTrans" cxnId="{59FD0473-2207-40DB-855D-D95D2119EBD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349DAE3-263F-4D2C-9BAA-71EBC063698E}" type="sibTrans" cxnId="{59FD0473-2207-40DB-855D-D95D2119EBD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4E55E0E0-2503-434E-AA4F-8C8E568D6A73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 Development and Training</a:t>
          </a:r>
        </a:p>
      </dgm:t>
    </dgm:pt>
    <dgm:pt modelId="{22B2DCC2-D3F1-48F6-96A0-3C2DFCB823EA}" type="parTrans" cxnId="{67B0E184-81FD-40C8-B162-534E1E0C4909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F6765F3A-06BD-4B75-BFD2-20F5590ECE0F}" type="sibTrans" cxnId="{67B0E184-81FD-40C8-B162-534E1E0C4909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9AEF29F-AB15-424F-82FA-0C7746A1C199}">
      <dgm:prSet phldrT="[Text]" custT="1"/>
      <dgm:spPr/>
      <dgm:t>
        <a:bodyPr/>
        <a:lstStyle/>
        <a:p>
          <a:r>
            <a:rPr lang="en-US" sz="1400" dirty="0">
              <a:solidFill>
                <a:schemeClr val="tx1"/>
              </a:solidFill>
            </a:rPr>
            <a:t>- Partner with AI developers to build the chatbot.</a:t>
          </a:r>
        </a:p>
      </dgm:t>
    </dgm:pt>
    <dgm:pt modelId="{11B7A189-97F2-4062-B74E-AAEE971F0425}" type="parTrans" cxnId="{6DDCEA20-E4F0-4449-8053-B16D80F5EB1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194A220C-99D1-4C8D-866D-99F1831075DF}" type="sibTrans" cxnId="{6DDCEA20-E4F0-4449-8053-B16D80F5EB1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3C7F89D2-BFA5-4659-814A-28007475255A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 Testing and Feedback</a:t>
          </a:r>
        </a:p>
      </dgm:t>
    </dgm:pt>
    <dgm:pt modelId="{1DA8BC1F-C070-4812-BBB1-94B91C986982}" type="parTrans" cxnId="{195AF504-3389-4E4A-B198-1DC858B95FF4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BA1D398A-91E9-4A01-9194-D16A50134A2B}" type="sibTrans" cxnId="{195AF504-3389-4E4A-B198-1DC858B95FF4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FF10756-161C-4B1D-9FC4-D0C50EF1FC84}">
      <dgm:prSet phldrT="[Text]" custT="1"/>
      <dgm:spPr/>
      <dgm:t>
        <a:bodyPr/>
        <a:lstStyle/>
        <a:p>
          <a:r>
            <a:rPr lang="en-US" sz="1400" dirty="0">
              <a:solidFill>
                <a:schemeClr val="tx1"/>
              </a:solidFill>
            </a:rPr>
            <a:t>- Conduct thorough testing with a small group of P&amp;C team members.</a:t>
          </a:r>
        </a:p>
      </dgm:t>
    </dgm:pt>
    <dgm:pt modelId="{4154EDB0-AC66-493B-B610-DA2ABE0CD98B}" type="parTrans" cxnId="{771895CD-0441-450A-A331-46E0932853D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001B9E1-2A78-4189-BE96-D2DBD0C65807}" type="sibTrans" cxnId="{771895CD-0441-450A-A331-46E0932853D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88C9C96-9C6A-4001-B6C1-E4E1F6F407AC}">
      <dgm:prSet custT="1"/>
      <dgm:spPr/>
      <dgm:t>
        <a:bodyPr/>
        <a:lstStyle/>
        <a:p>
          <a:r>
            <a:rPr lang="en-US" sz="1400" dirty="0">
              <a:solidFill>
                <a:schemeClr val="tx1"/>
              </a:solidFill>
            </a:rPr>
            <a:t>- Define clear objectives and success metrics.</a:t>
          </a:r>
        </a:p>
      </dgm:t>
    </dgm:pt>
    <dgm:pt modelId="{4F1D1120-67BA-4D3A-A88C-69876F24CDDA}" type="parTrans" cxnId="{158F6027-4248-4E77-A678-C6D4802E063D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3D710BF-16FA-49A2-A821-77BD0913EC18}" type="sibTrans" cxnId="{158F6027-4248-4E77-A678-C6D4802E063D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4E0AD66C-B404-447B-9210-BFE09BA4E55A}">
      <dgm:prSet custT="1"/>
      <dgm:spPr/>
      <dgm:t>
        <a:bodyPr/>
        <a:lstStyle/>
        <a:p>
          <a:r>
            <a:rPr lang="en-US" sz="1400" dirty="0">
              <a:solidFill>
                <a:schemeClr val="tx1"/>
              </a:solidFill>
            </a:rPr>
            <a:t>- Gather and prepare training data from existing HR documents and queries.</a:t>
          </a:r>
        </a:p>
      </dgm:t>
    </dgm:pt>
    <dgm:pt modelId="{EFF0616C-EE7C-4CB2-8EB3-B18579210300}" type="parTrans" cxnId="{5224BF10-CCAE-42ED-964E-22E5360D593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5115C845-4349-4860-9AA0-40BEAE7775CE}" type="sibTrans" cxnId="{5224BF10-CCAE-42ED-964E-22E5360D593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558A3A05-550A-41D4-8A44-805DDD761C88}">
      <dgm:prSet custT="1"/>
      <dgm:spPr/>
      <dgm:t>
        <a:bodyPr/>
        <a:lstStyle/>
        <a:p>
          <a:r>
            <a:rPr lang="en-US" sz="1400" dirty="0">
              <a:solidFill>
                <a:schemeClr val="tx1"/>
              </a:solidFill>
            </a:rPr>
            <a:t>- Collect feedback and refine the tool accordingly.</a:t>
          </a:r>
        </a:p>
      </dgm:t>
    </dgm:pt>
    <dgm:pt modelId="{C0DE2A58-A4A0-43DA-8500-F01E57623DAB}" type="parTrans" cxnId="{B6307E36-7BF2-4F1D-934C-90687AE37F1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D7FE168-2F02-49D7-A5D0-D0D0D5C46E9D}" type="sibTrans" cxnId="{B6307E36-7BF2-4F1D-934C-90687AE37F1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0637ADB-DFF2-4BE3-89ED-80E5BC45B7B2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Deployment and Training</a:t>
          </a:r>
        </a:p>
      </dgm:t>
    </dgm:pt>
    <dgm:pt modelId="{B05024C9-D214-4EC3-A093-83975DEC6A01}" type="parTrans" cxnId="{F35F7D05-0FE0-450F-90E5-665F2DD678E8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F3EE4E65-B3D9-4707-B6CF-2424ED42268A}" type="sibTrans" cxnId="{F35F7D05-0FE0-450F-90E5-665F2DD678E8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A304B58-CFAD-474A-9F94-0C8C323FB4B1}">
      <dgm:prSet custT="1"/>
      <dgm:spPr/>
      <dgm:t>
        <a:bodyPr/>
        <a:lstStyle/>
        <a:p>
          <a:r>
            <a:rPr lang="en-US" sz="1400" dirty="0">
              <a:solidFill>
                <a:schemeClr val="tx1"/>
              </a:solidFill>
            </a:rPr>
            <a:t>- Roll out the chatbot to the entire P&amp;C team.</a:t>
          </a:r>
        </a:p>
      </dgm:t>
    </dgm:pt>
    <dgm:pt modelId="{4BD3890C-6EF5-439D-A48C-EB19018EFB3F}" type="parTrans" cxnId="{9A3137B7-13CF-4245-9688-6A61F8C5168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52C345DD-54BB-4446-868E-70E8446473D7}" type="sibTrans" cxnId="{9A3137B7-13CF-4245-9688-6A61F8C5168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C42E185-FA97-4CBF-B6E5-87A55FBD548E}">
      <dgm:prSet custT="1"/>
      <dgm:spPr/>
      <dgm:t>
        <a:bodyPr/>
        <a:lstStyle/>
        <a:p>
          <a:r>
            <a:rPr lang="en-US" sz="1400" dirty="0">
              <a:solidFill>
                <a:schemeClr val="tx1"/>
              </a:solidFill>
            </a:rPr>
            <a:t>- Provide training sessions to ensure team members are comfortable using the tool.</a:t>
          </a:r>
        </a:p>
      </dgm:t>
    </dgm:pt>
    <dgm:pt modelId="{43023613-11E5-4A56-B210-C9B4402A7E0F}" type="parTrans" cxnId="{92ADDDD1-EC64-40A3-A730-A80C2103FD4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5A06DDC7-CB95-4095-90A0-BEAB58283165}" type="sibTrans" cxnId="{92ADDDD1-EC64-40A3-A730-A80C2103FD4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192ADA94-2EA9-47FF-AB31-6C774965BE9D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Evaluation and Expansion</a:t>
          </a:r>
        </a:p>
      </dgm:t>
    </dgm:pt>
    <dgm:pt modelId="{5C7F8090-EB5B-476F-95DE-DA44D37F9AF2}" type="parTrans" cxnId="{A58CC23D-23A9-4D4D-ACFD-48F3EE69EAA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0F3E2884-DD92-4301-A07F-84CDA7358421}" type="sibTrans" cxnId="{A58CC23D-23A9-4D4D-ACFD-48F3EE69EAA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6ED20D3-D475-47F4-953C-84E759A34EA5}">
      <dgm:prSet custT="1"/>
      <dgm:spPr/>
      <dgm:t>
        <a:bodyPr/>
        <a:lstStyle/>
        <a:p>
          <a:r>
            <a:rPr lang="en-US" sz="1400" dirty="0">
              <a:solidFill>
                <a:schemeClr val="tx1"/>
              </a:solidFill>
            </a:rPr>
            <a:t>- Monitor usage and performance.</a:t>
          </a:r>
        </a:p>
      </dgm:t>
    </dgm:pt>
    <dgm:pt modelId="{B07FF454-8C8E-46AF-B5D0-48D700DE7BA9}" type="parTrans" cxnId="{01EA3900-4566-45B2-8AD8-09513B573216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F24756C-8D92-456C-AC95-EFD5B6BB1A26}" type="sibTrans" cxnId="{01EA3900-4566-45B2-8AD8-09513B573216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52BA47E-1BC8-485C-BC9F-0D3DEA4C7AB5}">
      <dgm:prSet custT="1"/>
      <dgm:spPr/>
      <dgm:t>
        <a:bodyPr/>
        <a:lstStyle/>
        <a:p>
          <a:r>
            <a:rPr lang="en-US" sz="1400" dirty="0">
              <a:solidFill>
                <a:schemeClr val="tx1"/>
              </a:solidFill>
            </a:rPr>
            <a:t>- Plan and implement additional features based on initial feedback and evolving needs.</a:t>
          </a:r>
        </a:p>
      </dgm:t>
    </dgm:pt>
    <dgm:pt modelId="{D7548C04-3220-4C6D-911A-52A715D4E21C}" type="parTrans" cxnId="{F3901A82-D649-4B5A-9A96-9225673031EE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CD37F21-74DE-4556-9382-B1623ED8D6CB}" type="sibTrans" cxnId="{F3901A82-D649-4B5A-9A96-9225673031EE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A8316203-4B2E-4ACA-8166-2ACDFD90F534}" type="pres">
      <dgm:prSet presAssocID="{069567D9-4E5C-4283-940C-8AB555041ABD}" presName="Name0" presStyleCnt="0">
        <dgm:presLayoutVars>
          <dgm:dir/>
          <dgm:animLvl val="lvl"/>
          <dgm:resizeHandles val="exact"/>
        </dgm:presLayoutVars>
      </dgm:prSet>
      <dgm:spPr/>
    </dgm:pt>
    <dgm:pt modelId="{FA8D95B7-6DA7-4087-A195-9942F8B3820E}" type="pres">
      <dgm:prSet presAssocID="{484CB62F-DDB7-45E2-B1F7-7921362380CA}" presName="compositeNode" presStyleCnt="0">
        <dgm:presLayoutVars>
          <dgm:bulletEnabled val="1"/>
        </dgm:presLayoutVars>
      </dgm:prSet>
      <dgm:spPr/>
    </dgm:pt>
    <dgm:pt modelId="{1EF625FE-4B6E-476F-8B29-B9AFD4D9B733}" type="pres">
      <dgm:prSet presAssocID="{484CB62F-DDB7-45E2-B1F7-7921362380CA}" presName="bgRect" presStyleLbl="node1" presStyleIdx="0" presStyleCnt="5"/>
      <dgm:spPr/>
    </dgm:pt>
    <dgm:pt modelId="{0E3DC637-C188-4982-B9EB-421B1977984D}" type="pres">
      <dgm:prSet presAssocID="{484CB62F-DDB7-45E2-B1F7-7921362380CA}" presName="parentNode" presStyleLbl="node1" presStyleIdx="0" presStyleCnt="5">
        <dgm:presLayoutVars>
          <dgm:chMax val="0"/>
          <dgm:bulletEnabled val="1"/>
        </dgm:presLayoutVars>
      </dgm:prSet>
      <dgm:spPr/>
    </dgm:pt>
    <dgm:pt modelId="{959D1404-1BAE-410F-AEB8-8361FE72E8A4}" type="pres">
      <dgm:prSet presAssocID="{484CB62F-DDB7-45E2-B1F7-7921362380CA}" presName="childNode" presStyleLbl="node1" presStyleIdx="0" presStyleCnt="5">
        <dgm:presLayoutVars>
          <dgm:bulletEnabled val="1"/>
        </dgm:presLayoutVars>
      </dgm:prSet>
      <dgm:spPr/>
    </dgm:pt>
    <dgm:pt modelId="{2873CA2F-2ACA-4F18-9B97-0C2F0CFB1BF0}" type="pres">
      <dgm:prSet presAssocID="{8C84D05B-67A8-449A-BC59-7F262C023386}" presName="hSp" presStyleCnt="0"/>
      <dgm:spPr/>
    </dgm:pt>
    <dgm:pt modelId="{37A3BC49-3753-4EDF-9DC3-1402C4943597}" type="pres">
      <dgm:prSet presAssocID="{8C84D05B-67A8-449A-BC59-7F262C023386}" presName="vProcSp" presStyleCnt="0"/>
      <dgm:spPr/>
    </dgm:pt>
    <dgm:pt modelId="{B2E22FA4-B0C0-43A5-BE7D-6A4BC006D4D8}" type="pres">
      <dgm:prSet presAssocID="{8C84D05B-67A8-449A-BC59-7F262C023386}" presName="vSp1" presStyleCnt="0"/>
      <dgm:spPr/>
    </dgm:pt>
    <dgm:pt modelId="{175F34C9-CB12-4A5E-8025-C6B75D6F7FC2}" type="pres">
      <dgm:prSet presAssocID="{8C84D05B-67A8-449A-BC59-7F262C023386}" presName="simulatedConn" presStyleLbl="solidFgAcc1" presStyleIdx="0" presStyleCnt="4"/>
      <dgm:spPr/>
    </dgm:pt>
    <dgm:pt modelId="{8C76B84D-E4B2-4040-B9D2-03DD0654CE80}" type="pres">
      <dgm:prSet presAssocID="{8C84D05B-67A8-449A-BC59-7F262C023386}" presName="vSp2" presStyleCnt="0"/>
      <dgm:spPr/>
    </dgm:pt>
    <dgm:pt modelId="{4AF1FCC3-91C4-46FE-9EB4-07A32E5FEE35}" type="pres">
      <dgm:prSet presAssocID="{8C84D05B-67A8-449A-BC59-7F262C023386}" presName="sibTrans" presStyleCnt="0"/>
      <dgm:spPr/>
    </dgm:pt>
    <dgm:pt modelId="{5E8CD3AC-3DD8-4B23-8C52-1EB1E2D985F1}" type="pres">
      <dgm:prSet presAssocID="{4E55E0E0-2503-434E-AA4F-8C8E568D6A73}" presName="compositeNode" presStyleCnt="0">
        <dgm:presLayoutVars>
          <dgm:bulletEnabled val="1"/>
        </dgm:presLayoutVars>
      </dgm:prSet>
      <dgm:spPr/>
    </dgm:pt>
    <dgm:pt modelId="{50652E3E-F9F6-4BE3-908F-B0802A5A6226}" type="pres">
      <dgm:prSet presAssocID="{4E55E0E0-2503-434E-AA4F-8C8E568D6A73}" presName="bgRect" presStyleLbl="node1" presStyleIdx="1" presStyleCnt="5"/>
      <dgm:spPr/>
    </dgm:pt>
    <dgm:pt modelId="{DDCC379A-DF65-4F02-964E-8C4532B7372A}" type="pres">
      <dgm:prSet presAssocID="{4E55E0E0-2503-434E-AA4F-8C8E568D6A73}" presName="parentNode" presStyleLbl="node1" presStyleIdx="1" presStyleCnt="5">
        <dgm:presLayoutVars>
          <dgm:chMax val="0"/>
          <dgm:bulletEnabled val="1"/>
        </dgm:presLayoutVars>
      </dgm:prSet>
      <dgm:spPr/>
    </dgm:pt>
    <dgm:pt modelId="{0FB931F0-7A30-4783-AF0D-EDB4FD973144}" type="pres">
      <dgm:prSet presAssocID="{4E55E0E0-2503-434E-AA4F-8C8E568D6A73}" presName="childNode" presStyleLbl="node1" presStyleIdx="1" presStyleCnt="5">
        <dgm:presLayoutVars>
          <dgm:bulletEnabled val="1"/>
        </dgm:presLayoutVars>
      </dgm:prSet>
      <dgm:spPr/>
    </dgm:pt>
    <dgm:pt modelId="{5A56AC2E-10BF-4E04-9FCB-9DEA7C3E53E9}" type="pres">
      <dgm:prSet presAssocID="{F6765F3A-06BD-4B75-BFD2-20F5590ECE0F}" presName="hSp" presStyleCnt="0"/>
      <dgm:spPr/>
    </dgm:pt>
    <dgm:pt modelId="{9CA46DE8-0A87-4DF7-BC57-658BEA8BAF5B}" type="pres">
      <dgm:prSet presAssocID="{F6765F3A-06BD-4B75-BFD2-20F5590ECE0F}" presName="vProcSp" presStyleCnt="0"/>
      <dgm:spPr/>
    </dgm:pt>
    <dgm:pt modelId="{2BD7DAB0-302C-4B22-937A-5A5F62FF1F16}" type="pres">
      <dgm:prSet presAssocID="{F6765F3A-06BD-4B75-BFD2-20F5590ECE0F}" presName="vSp1" presStyleCnt="0"/>
      <dgm:spPr/>
    </dgm:pt>
    <dgm:pt modelId="{CF5B5970-79B9-43C6-A185-B4DC76EA8E3D}" type="pres">
      <dgm:prSet presAssocID="{F6765F3A-06BD-4B75-BFD2-20F5590ECE0F}" presName="simulatedConn" presStyleLbl="solidFgAcc1" presStyleIdx="1" presStyleCnt="4"/>
      <dgm:spPr/>
    </dgm:pt>
    <dgm:pt modelId="{9A22DDE8-FF2C-49DC-B114-EDBBF05804E1}" type="pres">
      <dgm:prSet presAssocID="{F6765F3A-06BD-4B75-BFD2-20F5590ECE0F}" presName="vSp2" presStyleCnt="0"/>
      <dgm:spPr/>
    </dgm:pt>
    <dgm:pt modelId="{29B9C983-205F-4833-ACF5-9A404A04785D}" type="pres">
      <dgm:prSet presAssocID="{F6765F3A-06BD-4B75-BFD2-20F5590ECE0F}" presName="sibTrans" presStyleCnt="0"/>
      <dgm:spPr/>
    </dgm:pt>
    <dgm:pt modelId="{BFA7979F-B8A8-4580-9CCB-E5BA4D8A2714}" type="pres">
      <dgm:prSet presAssocID="{3C7F89D2-BFA5-4659-814A-28007475255A}" presName="compositeNode" presStyleCnt="0">
        <dgm:presLayoutVars>
          <dgm:bulletEnabled val="1"/>
        </dgm:presLayoutVars>
      </dgm:prSet>
      <dgm:spPr/>
    </dgm:pt>
    <dgm:pt modelId="{47E6CADC-201E-4490-8A7F-E1B1CFC324BB}" type="pres">
      <dgm:prSet presAssocID="{3C7F89D2-BFA5-4659-814A-28007475255A}" presName="bgRect" presStyleLbl="node1" presStyleIdx="2" presStyleCnt="5"/>
      <dgm:spPr/>
    </dgm:pt>
    <dgm:pt modelId="{16497052-E9A6-4D33-9429-47FE2CA1DCD9}" type="pres">
      <dgm:prSet presAssocID="{3C7F89D2-BFA5-4659-814A-28007475255A}" presName="parentNode" presStyleLbl="node1" presStyleIdx="2" presStyleCnt="5">
        <dgm:presLayoutVars>
          <dgm:chMax val="0"/>
          <dgm:bulletEnabled val="1"/>
        </dgm:presLayoutVars>
      </dgm:prSet>
      <dgm:spPr/>
    </dgm:pt>
    <dgm:pt modelId="{7A5D1E29-A9CA-48F5-92FB-CC761BFAD537}" type="pres">
      <dgm:prSet presAssocID="{3C7F89D2-BFA5-4659-814A-28007475255A}" presName="childNode" presStyleLbl="node1" presStyleIdx="2" presStyleCnt="5">
        <dgm:presLayoutVars>
          <dgm:bulletEnabled val="1"/>
        </dgm:presLayoutVars>
      </dgm:prSet>
      <dgm:spPr/>
    </dgm:pt>
    <dgm:pt modelId="{985516AB-04D3-4C2C-A017-6F95D2559ABE}" type="pres">
      <dgm:prSet presAssocID="{BA1D398A-91E9-4A01-9194-D16A50134A2B}" presName="hSp" presStyleCnt="0"/>
      <dgm:spPr/>
    </dgm:pt>
    <dgm:pt modelId="{109316D5-27C7-42F8-B9F1-87DCFF3796D5}" type="pres">
      <dgm:prSet presAssocID="{BA1D398A-91E9-4A01-9194-D16A50134A2B}" presName="vProcSp" presStyleCnt="0"/>
      <dgm:spPr/>
    </dgm:pt>
    <dgm:pt modelId="{081A6068-8AAF-4072-AD8E-4B2C29A7C7A7}" type="pres">
      <dgm:prSet presAssocID="{BA1D398A-91E9-4A01-9194-D16A50134A2B}" presName="vSp1" presStyleCnt="0"/>
      <dgm:spPr/>
    </dgm:pt>
    <dgm:pt modelId="{1D71EAE4-B9BB-408B-819E-EDB7658688D1}" type="pres">
      <dgm:prSet presAssocID="{BA1D398A-91E9-4A01-9194-D16A50134A2B}" presName="simulatedConn" presStyleLbl="solidFgAcc1" presStyleIdx="2" presStyleCnt="4"/>
      <dgm:spPr/>
    </dgm:pt>
    <dgm:pt modelId="{0DA6C0ED-96F5-4F3F-9BA8-2BF7944D06E2}" type="pres">
      <dgm:prSet presAssocID="{BA1D398A-91E9-4A01-9194-D16A50134A2B}" presName="vSp2" presStyleCnt="0"/>
      <dgm:spPr/>
    </dgm:pt>
    <dgm:pt modelId="{9FE8A838-868A-44EC-A808-AA59CE4A71C8}" type="pres">
      <dgm:prSet presAssocID="{BA1D398A-91E9-4A01-9194-D16A50134A2B}" presName="sibTrans" presStyleCnt="0"/>
      <dgm:spPr/>
    </dgm:pt>
    <dgm:pt modelId="{C9C9296C-71E4-434F-B3D8-6BC4835F98BD}" type="pres">
      <dgm:prSet presAssocID="{C0637ADB-DFF2-4BE3-89ED-80E5BC45B7B2}" presName="compositeNode" presStyleCnt="0">
        <dgm:presLayoutVars>
          <dgm:bulletEnabled val="1"/>
        </dgm:presLayoutVars>
      </dgm:prSet>
      <dgm:spPr/>
    </dgm:pt>
    <dgm:pt modelId="{4290A0FF-8159-43C2-BC97-0359D2CE8E1B}" type="pres">
      <dgm:prSet presAssocID="{C0637ADB-DFF2-4BE3-89ED-80E5BC45B7B2}" presName="bgRect" presStyleLbl="node1" presStyleIdx="3" presStyleCnt="5"/>
      <dgm:spPr/>
    </dgm:pt>
    <dgm:pt modelId="{7EF6013A-D312-4D41-84E5-C7722414D761}" type="pres">
      <dgm:prSet presAssocID="{C0637ADB-DFF2-4BE3-89ED-80E5BC45B7B2}" presName="parentNode" presStyleLbl="node1" presStyleIdx="3" presStyleCnt="5">
        <dgm:presLayoutVars>
          <dgm:chMax val="0"/>
          <dgm:bulletEnabled val="1"/>
        </dgm:presLayoutVars>
      </dgm:prSet>
      <dgm:spPr/>
    </dgm:pt>
    <dgm:pt modelId="{C1203707-85F8-4BBB-B33E-A94DB58C46EA}" type="pres">
      <dgm:prSet presAssocID="{C0637ADB-DFF2-4BE3-89ED-80E5BC45B7B2}" presName="childNode" presStyleLbl="node1" presStyleIdx="3" presStyleCnt="5">
        <dgm:presLayoutVars>
          <dgm:bulletEnabled val="1"/>
        </dgm:presLayoutVars>
      </dgm:prSet>
      <dgm:spPr/>
    </dgm:pt>
    <dgm:pt modelId="{6C3C4299-1822-4A2E-A2F6-5F4FD8C72E45}" type="pres">
      <dgm:prSet presAssocID="{F3EE4E65-B3D9-4707-B6CF-2424ED42268A}" presName="hSp" presStyleCnt="0"/>
      <dgm:spPr/>
    </dgm:pt>
    <dgm:pt modelId="{71539EDA-4445-420F-9A1A-D7F3DCA0BDB3}" type="pres">
      <dgm:prSet presAssocID="{F3EE4E65-B3D9-4707-B6CF-2424ED42268A}" presName="vProcSp" presStyleCnt="0"/>
      <dgm:spPr/>
    </dgm:pt>
    <dgm:pt modelId="{95DB2050-1A98-45B4-8354-4E584D182252}" type="pres">
      <dgm:prSet presAssocID="{F3EE4E65-B3D9-4707-B6CF-2424ED42268A}" presName="vSp1" presStyleCnt="0"/>
      <dgm:spPr/>
    </dgm:pt>
    <dgm:pt modelId="{31792C43-730F-4754-A61F-69D6EBF308F8}" type="pres">
      <dgm:prSet presAssocID="{F3EE4E65-B3D9-4707-B6CF-2424ED42268A}" presName="simulatedConn" presStyleLbl="solidFgAcc1" presStyleIdx="3" presStyleCnt="4"/>
      <dgm:spPr/>
    </dgm:pt>
    <dgm:pt modelId="{B56CF01B-71DF-4E04-AE01-B57DCF2FD88F}" type="pres">
      <dgm:prSet presAssocID="{F3EE4E65-B3D9-4707-B6CF-2424ED42268A}" presName="vSp2" presStyleCnt="0"/>
      <dgm:spPr/>
    </dgm:pt>
    <dgm:pt modelId="{D513EEEF-965D-4A01-9643-99945888B496}" type="pres">
      <dgm:prSet presAssocID="{F3EE4E65-B3D9-4707-B6CF-2424ED42268A}" presName="sibTrans" presStyleCnt="0"/>
      <dgm:spPr/>
    </dgm:pt>
    <dgm:pt modelId="{BBBFFF61-3387-4E3F-89A5-3FFA992FC190}" type="pres">
      <dgm:prSet presAssocID="{192ADA94-2EA9-47FF-AB31-6C774965BE9D}" presName="compositeNode" presStyleCnt="0">
        <dgm:presLayoutVars>
          <dgm:bulletEnabled val="1"/>
        </dgm:presLayoutVars>
      </dgm:prSet>
      <dgm:spPr/>
    </dgm:pt>
    <dgm:pt modelId="{18468501-A9B2-40FD-BA57-8CAEB7B01CFB}" type="pres">
      <dgm:prSet presAssocID="{192ADA94-2EA9-47FF-AB31-6C774965BE9D}" presName="bgRect" presStyleLbl="node1" presStyleIdx="4" presStyleCnt="5"/>
      <dgm:spPr/>
    </dgm:pt>
    <dgm:pt modelId="{F5A6793D-397E-407F-81AB-A83F81BD656F}" type="pres">
      <dgm:prSet presAssocID="{192ADA94-2EA9-47FF-AB31-6C774965BE9D}" presName="parentNode" presStyleLbl="node1" presStyleIdx="4" presStyleCnt="5">
        <dgm:presLayoutVars>
          <dgm:chMax val="0"/>
          <dgm:bulletEnabled val="1"/>
        </dgm:presLayoutVars>
      </dgm:prSet>
      <dgm:spPr/>
    </dgm:pt>
    <dgm:pt modelId="{529F191E-FEF5-4AF8-A023-AC0ABDD5567B}" type="pres">
      <dgm:prSet presAssocID="{192ADA94-2EA9-47FF-AB31-6C774965BE9D}" presName="childNode" presStyleLbl="node1" presStyleIdx="4" presStyleCnt="5">
        <dgm:presLayoutVars>
          <dgm:bulletEnabled val="1"/>
        </dgm:presLayoutVars>
      </dgm:prSet>
      <dgm:spPr/>
    </dgm:pt>
  </dgm:ptLst>
  <dgm:cxnLst>
    <dgm:cxn modelId="{01EA3900-4566-45B2-8AD8-09513B573216}" srcId="{192ADA94-2EA9-47FF-AB31-6C774965BE9D}" destId="{E6ED20D3-D475-47F4-953C-84E759A34EA5}" srcOrd="0" destOrd="0" parTransId="{B07FF454-8C8E-46AF-B5D0-48D700DE7BA9}" sibTransId="{7F24756C-8D92-456C-AC95-EFD5B6BB1A26}"/>
    <dgm:cxn modelId="{BE815900-A559-47CB-A85D-6EAC1B4CD642}" type="presOf" srcId="{4E55E0E0-2503-434E-AA4F-8C8E568D6A73}" destId="{50652E3E-F9F6-4BE3-908F-B0802A5A6226}" srcOrd="0" destOrd="0" presId="urn:microsoft.com/office/officeart/2005/8/layout/hProcess7"/>
    <dgm:cxn modelId="{A8A82801-BD08-4644-B892-CCA9A8D281FF}" type="presOf" srcId="{4E0AD66C-B404-447B-9210-BFE09BA4E55A}" destId="{0FB931F0-7A30-4783-AF0D-EDB4FD973144}" srcOrd="0" destOrd="1" presId="urn:microsoft.com/office/officeart/2005/8/layout/hProcess7"/>
    <dgm:cxn modelId="{195AF504-3389-4E4A-B198-1DC858B95FF4}" srcId="{069567D9-4E5C-4283-940C-8AB555041ABD}" destId="{3C7F89D2-BFA5-4659-814A-28007475255A}" srcOrd="2" destOrd="0" parTransId="{1DA8BC1F-C070-4812-BBB1-94B91C986982}" sibTransId="{BA1D398A-91E9-4A01-9194-D16A50134A2B}"/>
    <dgm:cxn modelId="{F35F7D05-0FE0-450F-90E5-665F2DD678E8}" srcId="{069567D9-4E5C-4283-940C-8AB555041ABD}" destId="{C0637ADB-DFF2-4BE3-89ED-80E5BC45B7B2}" srcOrd="3" destOrd="0" parTransId="{B05024C9-D214-4EC3-A093-83975DEC6A01}" sibTransId="{F3EE4E65-B3D9-4707-B6CF-2424ED42268A}"/>
    <dgm:cxn modelId="{5224BF10-CCAE-42ED-964E-22E5360D593B}" srcId="{4E55E0E0-2503-434E-AA4F-8C8E568D6A73}" destId="{4E0AD66C-B404-447B-9210-BFE09BA4E55A}" srcOrd="1" destOrd="0" parTransId="{EFF0616C-EE7C-4CB2-8EB3-B18579210300}" sibTransId="{5115C845-4349-4860-9AA0-40BEAE7775CE}"/>
    <dgm:cxn modelId="{6DDCEA20-E4F0-4449-8053-B16D80F5EB1B}" srcId="{4E55E0E0-2503-434E-AA4F-8C8E568D6A73}" destId="{79AEF29F-AB15-424F-82FA-0C7746A1C199}" srcOrd="0" destOrd="0" parTransId="{11B7A189-97F2-4062-B74E-AAEE971F0425}" sibTransId="{194A220C-99D1-4C8D-866D-99F1831075DF}"/>
    <dgm:cxn modelId="{158F6027-4248-4E77-A678-C6D4802E063D}" srcId="{484CB62F-DDB7-45E2-B1F7-7921362380CA}" destId="{E88C9C96-9C6A-4001-B6C1-E4E1F6F407AC}" srcOrd="1" destOrd="0" parTransId="{4F1D1120-67BA-4D3A-A88C-69876F24CDDA}" sibTransId="{E3D710BF-16FA-49A2-A821-77BD0913EC18}"/>
    <dgm:cxn modelId="{C8C57729-3883-4D7C-961E-00E4CD70AF29}" type="presOf" srcId="{252BA47E-1BC8-485C-BC9F-0D3DEA4C7AB5}" destId="{529F191E-FEF5-4AF8-A023-AC0ABDD5567B}" srcOrd="0" destOrd="1" presId="urn:microsoft.com/office/officeart/2005/8/layout/hProcess7"/>
    <dgm:cxn modelId="{B7F6D233-0CAF-4B79-99EA-0267A983A8EF}" type="presOf" srcId="{558A3A05-550A-41D4-8A44-805DDD761C88}" destId="{7A5D1E29-A9CA-48F5-92FB-CC761BFAD537}" srcOrd="0" destOrd="1" presId="urn:microsoft.com/office/officeart/2005/8/layout/hProcess7"/>
    <dgm:cxn modelId="{B6307E36-7BF2-4F1D-934C-90687AE37F10}" srcId="{3C7F89D2-BFA5-4659-814A-28007475255A}" destId="{558A3A05-550A-41D4-8A44-805DDD761C88}" srcOrd="1" destOrd="0" parTransId="{C0DE2A58-A4A0-43DA-8500-F01E57623DAB}" sibTransId="{7D7FE168-2F02-49D7-A5D0-D0D0D5C46E9D}"/>
    <dgm:cxn modelId="{4A992539-C4A6-426B-93B8-7084BE84548F}" type="presOf" srcId="{484CB62F-DDB7-45E2-B1F7-7921362380CA}" destId="{0E3DC637-C188-4982-B9EB-421B1977984D}" srcOrd="1" destOrd="0" presId="urn:microsoft.com/office/officeart/2005/8/layout/hProcess7"/>
    <dgm:cxn modelId="{C6C1063A-A02B-4D71-9B75-B49384959322}" type="presOf" srcId="{C0637ADB-DFF2-4BE3-89ED-80E5BC45B7B2}" destId="{7EF6013A-D312-4D41-84E5-C7722414D761}" srcOrd="1" destOrd="0" presId="urn:microsoft.com/office/officeart/2005/8/layout/hProcess7"/>
    <dgm:cxn modelId="{A58CC23D-23A9-4D4D-ACFD-48F3EE69EAA0}" srcId="{069567D9-4E5C-4283-940C-8AB555041ABD}" destId="{192ADA94-2EA9-47FF-AB31-6C774965BE9D}" srcOrd="4" destOrd="0" parTransId="{5C7F8090-EB5B-476F-95DE-DA44D37F9AF2}" sibTransId="{0F3E2884-DD92-4301-A07F-84CDA7358421}"/>
    <dgm:cxn modelId="{3D55F24A-1797-4C9E-8367-A95EE19F24F2}" type="presOf" srcId="{069567D9-4E5C-4283-940C-8AB555041ABD}" destId="{A8316203-4B2E-4ACA-8166-2ACDFD90F534}" srcOrd="0" destOrd="0" presId="urn:microsoft.com/office/officeart/2005/8/layout/hProcess7"/>
    <dgm:cxn modelId="{73672C6B-EB06-4523-9E1D-96B54857DCCA}" type="presOf" srcId="{192ADA94-2EA9-47FF-AB31-6C774965BE9D}" destId="{F5A6793D-397E-407F-81AB-A83F81BD656F}" srcOrd="1" destOrd="0" presId="urn:microsoft.com/office/officeart/2005/8/layout/hProcess7"/>
    <dgm:cxn modelId="{8A5E2A51-F4D5-424E-AE02-2A2757F6D7C5}" type="presOf" srcId="{79AEF29F-AB15-424F-82FA-0C7746A1C199}" destId="{0FB931F0-7A30-4783-AF0D-EDB4FD973144}" srcOrd="0" destOrd="0" presId="urn:microsoft.com/office/officeart/2005/8/layout/hProcess7"/>
    <dgm:cxn modelId="{59FD0473-2207-40DB-855D-D95D2119EBD0}" srcId="{484CB62F-DDB7-45E2-B1F7-7921362380CA}" destId="{80EEDECA-CB11-4BF0-A6F4-8B8C85479300}" srcOrd="0" destOrd="0" parTransId="{B3B1048B-9AE7-4818-A2AB-CB15248AF8DE}" sibTransId="{2349DAE3-263F-4D2C-9BAA-71EBC063698E}"/>
    <dgm:cxn modelId="{FF3F3477-0FC4-4280-ADB9-5E3329C79515}" type="presOf" srcId="{C0637ADB-DFF2-4BE3-89ED-80E5BC45B7B2}" destId="{4290A0FF-8159-43C2-BC97-0359D2CE8E1B}" srcOrd="0" destOrd="0" presId="urn:microsoft.com/office/officeart/2005/8/layout/hProcess7"/>
    <dgm:cxn modelId="{90537479-BA9A-42C9-8ADF-840824809FB8}" srcId="{069567D9-4E5C-4283-940C-8AB555041ABD}" destId="{484CB62F-DDB7-45E2-B1F7-7921362380CA}" srcOrd="0" destOrd="0" parTransId="{AB32D680-2491-4696-84DE-5999BC9BEA43}" sibTransId="{8C84D05B-67A8-449A-BC59-7F262C023386}"/>
    <dgm:cxn modelId="{F3901A82-D649-4B5A-9A96-9225673031EE}" srcId="{192ADA94-2EA9-47FF-AB31-6C774965BE9D}" destId="{252BA47E-1BC8-485C-BC9F-0D3DEA4C7AB5}" srcOrd="1" destOrd="0" parTransId="{D7548C04-3220-4C6D-911A-52A715D4E21C}" sibTransId="{CCD37F21-74DE-4556-9382-B1623ED8D6CB}"/>
    <dgm:cxn modelId="{67B0E184-81FD-40C8-B162-534E1E0C4909}" srcId="{069567D9-4E5C-4283-940C-8AB555041ABD}" destId="{4E55E0E0-2503-434E-AA4F-8C8E568D6A73}" srcOrd="1" destOrd="0" parTransId="{22B2DCC2-D3F1-48F6-96A0-3C2DFCB823EA}" sibTransId="{F6765F3A-06BD-4B75-BFD2-20F5590ECE0F}"/>
    <dgm:cxn modelId="{AE0FE98D-105A-4771-9053-2E8D4B13F662}" type="presOf" srcId="{484CB62F-DDB7-45E2-B1F7-7921362380CA}" destId="{1EF625FE-4B6E-476F-8B29-B9AFD4D9B733}" srcOrd="0" destOrd="0" presId="urn:microsoft.com/office/officeart/2005/8/layout/hProcess7"/>
    <dgm:cxn modelId="{20CAD890-EB4B-4A8F-8350-FD41AEEA2B0B}" type="presOf" srcId="{EA304B58-CFAD-474A-9F94-0C8C323FB4B1}" destId="{C1203707-85F8-4BBB-B33E-A94DB58C46EA}" srcOrd="0" destOrd="0" presId="urn:microsoft.com/office/officeart/2005/8/layout/hProcess7"/>
    <dgm:cxn modelId="{D575D399-7DED-4E4A-AD47-5BD3732095DB}" type="presOf" srcId="{80EEDECA-CB11-4BF0-A6F4-8B8C85479300}" destId="{959D1404-1BAE-410F-AEB8-8361FE72E8A4}" srcOrd="0" destOrd="0" presId="urn:microsoft.com/office/officeart/2005/8/layout/hProcess7"/>
    <dgm:cxn modelId="{59E4D89F-2F07-49F2-B09A-2F42D6D70FB6}" type="presOf" srcId="{3C7F89D2-BFA5-4659-814A-28007475255A}" destId="{16497052-E9A6-4D33-9429-47FE2CA1DCD9}" srcOrd="1" destOrd="0" presId="urn:microsoft.com/office/officeart/2005/8/layout/hProcess7"/>
    <dgm:cxn modelId="{65ED86A5-BC8C-4F04-A25F-974EB564DA7F}" type="presOf" srcId="{E6ED20D3-D475-47F4-953C-84E759A34EA5}" destId="{529F191E-FEF5-4AF8-A023-AC0ABDD5567B}" srcOrd="0" destOrd="0" presId="urn:microsoft.com/office/officeart/2005/8/layout/hProcess7"/>
    <dgm:cxn modelId="{22B377A7-C0FA-434E-8BF8-82350942B6AE}" type="presOf" srcId="{3C7F89D2-BFA5-4659-814A-28007475255A}" destId="{47E6CADC-201E-4490-8A7F-E1B1CFC324BB}" srcOrd="0" destOrd="0" presId="urn:microsoft.com/office/officeart/2005/8/layout/hProcess7"/>
    <dgm:cxn modelId="{AC4A87AE-8BEC-4EEB-BA60-6F3295ADC51E}" type="presOf" srcId="{7FF10756-161C-4B1D-9FC4-D0C50EF1FC84}" destId="{7A5D1E29-A9CA-48F5-92FB-CC761BFAD537}" srcOrd="0" destOrd="0" presId="urn:microsoft.com/office/officeart/2005/8/layout/hProcess7"/>
    <dgm:cxn modelId="{9A3137B7-13CF-4245-9688-6A61F8C51681}" srcId="{C0637ADB-DFF2-4BE3-89ED-80E5BC45B7B2}" destId="{EA304B58-CFAD-474A-9F94-0C8C323FB4B1}" srcOrd="0" destOrd="0" parTransId="{4BD3890C-6EF5-439D-A48C-EB19018EFB3F}" sibTransId="{52C345DD-54BB-4446-868E-70E8446473D7}"/>
    <dgm:cxn modelId="{9984D5CC-B145-4F93-94C3-2B6026A83EE3}" type="presOf" srcId="{2C42E185-FA97-4CBF-B6E5-87A55FBD548E}" destId="{C1203707-85F8-4BBB-B33E-A94DB58C46EA}" srcOrd="0" destOrd="1" presId="urn:microsoft.com/office/officeart/2005/8/layout/hProcess7"/>
    <dgm:cxn modelId="{771895CD-0441-450A-A331-46E0932853D3}" srcId="{3C7F89D2-BFA5-4659-814A-28007475255A}" destId="{7FF10756-161C-4B1D-9FC4-D0C50EF1FC84}" srcOrd="0" destOrd="0" parTransId="{4154EDB0-AC66-493B-B610-DA2ABE0CD98B}" sibTransId="{C001B9E1-2A78-4189-BE96-D2DBD0C65807}"/>
    <dgm:cxn modelId="{6EFF81D0-F6D4-4015-805C-FAAE25498FCD}" type="presOf" srcId="{192ADA94-2EA9-47FF-AB31-6C774965BE9D}" destId="{18468501-A9B2-40FD-BA57-8CAEB7B01CFB}" srcOrd="0" destOrd="0" presId="urn:microsoft.com/office/officeart/2005/8/layout/hProcess7"/>
    <dgm:cxn modelId="{92ADDDD1-EC64-40A3-A730-A80C2103FD43}" srcId="{C0637ADB-DFF2-4BE3-89ED-80E5BC45B7B2}" destId="{2C42E185-FA97-4CBF-B6E5-87A55FBD548E}" srcOrd="1" destOrd="0" parTransId="{43023613-11E5-4A56-B210-C9B4402A7E0F}" sibTransId="{5A06DDC7-CB95-4095-90A0-BEAB58283165}"/>
    <dgm:cxn modelId="{D675C3DC-1B5D-47F9-A1E3-37BDD02FA506}" type="presOf" srcId="{E88C9C96-9C6A-4001-B6C1-E4E1F6F407AC}" destId="{959D1404-1BAE-410F-AEB8-8361FE72E8A4}" srcOrd="0" destOrd="1" presId="urn:microsoft.com/office/officeart/2005/8/layout/hProcess7"/>
    <dgm:cxn modelId="{9EEA1CFC-C3A2-4014-B9F2-5A19F02B5543}" type="presOf" srcId="{4E55E0E0-2503-434E-AA4F-8C8E568D6A73}" destId="{DDCC379A-DF65-4F02-964E-8C4532B7372A}" srcOrd="1" destOrd="0" presId="urn:microsoft.com/office/officeart/2005/8/layout/hProcess7"/>
    <dgm:cxn modelId="{21016357-C538-42CA-B2F2-88FF83251021}" type="presParOf" srcId="{A8316203-4B2E-4ACA-8166-2ACDFD90F534}" destId="{FA8D95B7-6DA7-4087-A195-9942F8B3820E}" srcOrd="0" destOrd="0" presId="urn:microsoft.com/office/officeart/2005/8/layout/hProcess7"/>
    <dgm:cxn modelId="{65F6FAFE-1CC4-4B0E-9AA9-1B958761215B}" type="presParOf" srcId="{FA8D95B7-6DA7-4087-A195-9942F8B3820E}" destId="{1EF625FE-4B6E-476F-8B29-B9AFD4D9B733}" srcOrd="0" destOrd="0" presId="urn:microsoft.com/office/officeart/2005/8/layout/hProcess7"/>
    <dgm:cxn modelId="{ED1CC294-98E3-4E33-9B97-E491B4429ECB}" type="presParOf" srcId="{FA8D95B7-6DA7-4087-A195-9942F8B3820E}" destId="{0E3DC637-C188-4982-B9EB-421B1977984D}" srcOrd="1" destOrd="0" presId="urn:microsoft.com/office/officeart/2005/8/layout/hProcess7"/>
    <dgm:cxn modelId="{C2DA9F4F-457C-4DB4-96FF-495AB686A5EC}" type="presParOf" srcId="{FA8D95B7-6DA7-4087-A195-9942F8B3820E}" destId="{959D1404-1BAE-410F-AEB8-8361FE72E8A4}" srcOrd="2" destOrd="0" presId="urn:microsoft.com/office/officeart/2005/8/layout/hProcess7"/>
    <dgm:cxn modelId="{2891EFA8-C3A1-447E-B202-47191E0B63A9}" type="presParOf" srcId="{A8316203-4B2E-4ACA-8166-2ACDFD90F534}" destId="{2873CA2F-2ACA-4F18-9B97-0C2F0CFB1BF0}" srcOrd="1" destOrd="0" presId="urn:microsoft.com/office/officeart/2005/8/layout/hProcess7"/>
    <dgm:cxn modelId="{63182DA5-AB2B-476B-A7CE-C7401F6EC5B4}" type="presParOf" srcId="{A8316203-4B2E-4ACA-8166-2ACDFD90F534}" destId="{37A3BC49-3753-4EDF-9DC3-1402C4943597}" srcOrd="2" destOrd="0" presId="urn:microsoft.com/office/officeart/2005/8/layout/hProcess7"/>
    <dgm:cxn modelId="{42DEACC9-CAA0-4FAC-9E9D-8A1155A24226}" type="presParOf" srcId="{37A3BC49-3753-4EDF-9DC3-1402C4943597}" destId="{B2E22FA4-B0C0-43A5-BE7D-6A4BC006D4D8}" srcOrd="0" destOrd="0" presId="urn:microsoft.com/office/officeart/2005/8/layout/hProcess7"/>
    <dgm:cxn modelId="{C91F515B-9ABF-4998-96E9-DE7004C6A721}" type="presParOf" srcId="{37A3BC49-3753-4EDF-9DC3-1402C4943597}" destId="{175F34C9-CB12-4A5E-8025-C6B75D6F7FC2}" srcOrd="1" destOrd="0" presId="urn:microsoft.com/office/officeart/2005/8/layout/hProcess7"/>
    <dgm:cxn modelId="{401418CA-EC2B-4144-AF38-83B042A153CA}" type="presParOf" srcId="{37A3BC49-3753-4EDF-9DC3-1402C4943597}" destId="{8C76B84D-E4B2-4040-B9D2-03DD0654CE80}" srcOrd="2" destOrd="0" presId="urn:microsoft.com/office/officeart/2005/8/layout/hProcess7"/>
    <dgm:cxn modelId="{AC570D73-8C1E-4661-8B2C-12E2786A7F22}" type="presParOf" srcId="{A8316203-4B2E-4ACA-8166-2ACDFD90F534}" destId="{4AF1FCC3-91C4-46FE-9EB4-07A32E5FEE35}" srcOrd="3" destOrd="0" presId="urn:microsoft.com/office/officeart/2005/8/layout/hProcess7"/>
    <dgm:cxn modelId="{5BC655F9-08A7-4B5F-91D9-E1D7D7DF0106}" type="presParOf" srcId="{A8316203-4B2E-4ACA-8166-2ACDFD90F534}" destId="{5E8CD3AC-3DD8-4B23-8C52-1EB1E2D985F1}" srcOrd="4" destOrd="0" presId="urn:microsoft.com/office/officeart/2005/8/layout/hProcess7"/>
    <dgm:cxn modelId="{95914316-760A-40FF-9FE8-291227B972BB}" type="presParOf" srcId="{5E8CD3AC-3DD8-4B23-8C52-1EB1E2D985F1}" destId="{50652E3E-F9F6-4BE3-908F-B0802A5A6226}" srcOrd="0" destOrd="0" presId="urn:microsoft.com/office/officeart/2005/8/layout/hProcess7"/>
    <dgm:cxn modelId="{AA10D9DA-CF4A-4A54-A363-AD8F0E533B82}" type="presParOf" srcId="{5E8CD3AC-3DD8-4B23-8C52-1EB1E2D985F1}" destId="{DDCC379A-DF65-4F02-964E-8C4532B7372A}" srcOrd="1" destOrd="0" presId="urn:microsoft.com/office/officeart/2005/8/layout/hProcess7"/>
    <dgm:cxn modelId="{B3B60A56-79AA-4E41-903E-CCA564AD2BAF}" type="presParOf" srcId="{5E8CD3AC-3DD8-4B23-8C52-1EB1E2D985F1}" destId="{0FB931F0-7A30-4783-AF0D-EDB4FD973144}" srcOrd="2" destOrd="0" presId="urn:microsoft.com/office/officeart/2005/8/layout/hProcess7"/>
    <dgm:cxn modelId="{88FE96F9-3C9F-4972-9E1B-E648C96DA34D}" type="presParOf" srcId="{A8316203-4B2E-4ACA-8166-2ACDFD90F534}" destId="{5A56AC2E-10BF-4E04-9FCB-9DEA7C3E53E9}" srcOrd="5" destOrd="0" presId="urn:microsoft.com/office/officeart/2005/8/layout/hProcess7"/>
    <dgm:cxn modelId="{FB95FE77-50EA-4D92-B974-B2413731C6CD}" type="presParOf" srcId="{A8316203-4B2E-4ACA-8166-2ACDFD90F534}" destId="{9CA46DE8-0A87-4DF7-BC57-658BEA8BAF5B}" srcOrd="6" destOrd="0" presId="urn:microsoft.com/office/officeart/2005/8/layout/hProcess7"/>
    <dgm:cxn modelId="{47952965-AF60-464E-82AB-FB9A96658EB7}" type="presParOf" srcId="{9CA46DE8-0A87-4DF7-BC57-658BEA8BAF5B}" destId="{2BD7DAB0-302C-4B22-937A-5A5F62FF1F16}" srcOrd="0" destOrd="0" presId="urn:microsoft.com/office/officeart/2005/8/layout/hProcess7"/>
    <dgm:cxn modelId="{413D7A43-F1A0-4C11-915D-789300A2D0C8}" type="presParOf" srcId="{9CA46DE8-0A87-4DF7-BC57-658BEA8BAF5B}" destId="{CF5B5970-79B9-43C6-A185-B4DC76EA8E3D}" srcOrd="1" destOrd="0" presId="urn:microsoft.com/office/officeart/2005/8/layout/hProcess7"/>
    <dgm:cxn modelId="{4C31A0B7-BD4C-459B-97EE-C419DEAAA5DD}" type="presParOf" srcId="{9CA46DE8-0A87-4DF7-BC57-658BEA8BAF5B}" destId="{9A22DDE8-FF2C-49DC-B114-EDBBF05804E1}" srcOrd="2" destOrd="0" presId="urn:microsoft.com/office/officeart/2005/8/layout/hProcess7"/>
    <dgm:cxn modelId="{99998CDF-7F8B-43ED-8B69-71C8D0527A13}" type="presParOf" srcId="{A8316203-4B2E-4ACA-8166-2ACDFD90F534}" destId="{29B9C983-205F-4833-ACF5-9A404A04785D}" srcOrd="7" destOrd="0" presId="urn:microsoft.com/office/officeart/2005/8/layout/hProcess7"/>
    <dgm:cxn modelId="{44624C07-86D1-4E96-AB61-A9242B9C107A}" type="presParOf" srcId="{A8316203-4B2E-4ACA-8166-2ACDFD90F534}" destId="{BFA7979F-B8A8-4580-9CCB-E5BA4D8A2714}" srcOrd="8" destOrd="0" presId="urn:microsoft.com/office/officeart/2005/8/layout/hProcess7"/>
    <dgm:cxn modelId="{94441755-53AC-4F6C-9FDF-1CE747940294}" type="presParOf" srcId="{BFA7979F-B8A8-4580-9CCB-E5BA4D8A2714}" destId="{47E6CADC-201E-4490-8A7F-E1B1CFC324BB}" srcOrd="0" destOrd="0" presId="urn:microsoft.com/office/officeart/2005/8/layout/hProcess7"/>
    <dgm:cxn modelId="{485EBD55-6439-4CBA-97BB-79ACFB36A53F}" type="presParOf" srcId="{BFA7979F-B8A8-4580-9CCB-E5BA4D8A2714}" destId="{16497052-E9A6-4D33-9429-47FE2CA1DCD9}" srcOrd="1" destOrd="0" presId="urn:microsoft.com/office/officeart/2005/8/layout/hProcess7"/>
    <dgm:cxn modelId="{8F61D4D7-DA1B-4BB4-96DD-DB57249E7345}" type="presParOf" srcId="{BFA7979F-B8A8-4580-9CCB-E5BA4D8A2714}" destId="{7A5D1E29-A9CA-48F5-92FB-CC761BFAD537}" srcOrd="2" destOrd="0" presId="urn:microsoft.com/office/officeart/2005/8/layout/hProcess7"/>
    <dgm:cxn modelId="{2E4BADE9-C1B4-489F-9E6A-79B5208BD7B7}" type="presParOf" srcId="{A8316203-4B2E-4ACA-8166-2ACDFD90F534}" destId="{985516AB-04D3-4C2C-A017-6F95D2559ABE}" srcOrd="9" destOrd="0" presId="urn:microsoft.com/office/officeart/2005/8/layout/hProcess7"/>
    <dgm:cxn modelId="{A29D9D9F-756F-4801-B2D6-C3AAA9C6BB92}" type="presParOf" srcId="{A8316203-4B2E-4ACA-8166-2ACDFD90F534}" destId="{109316D5-27C7-42F8-B9F1-87DCFF3796D5}" srcOrd="10" destOrd="0" presId="urn:microsoft.com/office/officeart/2005/8/layout/hProcess7"/>
    <dgm:cxn modelId="{50B148BB-B5F6-432F-8B9A-AF82B5D468F7}" type="presParOf" srcId="{109316D5-27C7-42F8-B9F1-87DCFF3796D5}" destId="{081A6068-8AAF-4072-AD8E-4B2C29A7C7A7}" srcOrd="0" destOrd="0" presId="urn:microsoft.com/office/officeart/2005/8/layout/hProcess7"/>
    <dgm:cxn modelId="{B2923945-28F0-4A6E-B6C4-B1548A63C72B}" type="presParOf" srcId="{109316D5-27C7-42F8-B9F1-87DCFF3796D5}" destId="{1D71EAE4-B9BB-408B-819E-EDB7658688D1}" srcOrd="1" destOrd="0" presId="urn:microsoft.com/office/officeart/2005/8/layout/hProcess7"/>
    <dgm:cxn modelId="{0F4AFB22-B8CE-4337-814C-490FE9DA454A}" type="presParOf" srcId="{109316D5-27C7-42F8-B9F1-87DCFF3796D5}" destId="{0DA6C0ED-96F5-4F3F-9BA8-2BF7944D06E2}" srcOrd="2" destOrd="0" presId="urn:microsoft.com/office/officeart/2005/8/layout/hProcess7"/>
    <dgm:cxn modelId="{6056B2D8-E28A-4011-8842-D0FFC91456DE}" type="presParOf" srcId="{A8316203-4B2E-4ACA-8166-2ACDFD90F534}" destId="{9FE8A838-868A-44EC-A808-AA59CE4A71C8}" srcOrd="11" destOrd="0" presId="urn:microsoft.com/office/officeart/2005/8/layout/hProcess7"/>
    <dgm:cxn modelId="{355AC5D0-F732-417D-94AA-8121C29168AF}" type="presParOf" srcId="{A8316203-4B2E-4ACA-8166-2ACDFD90F534}" destId="{C9C9296C-71E4-434F-B3D8-6BC4835F98BD}" srcOrd="12" destOrd="0" presId="urn:microsoft.com/office/officeart/2005/8/layout/hProcess7"/>
    <dgm:cxn modelId="{7AA8A3BC-0B18-4E80-B2BA-BFBFAA0D85C4}" type="presParOf" srcId="{C9C9296C-71E4-434F-B3D8-6BC4835F98BD}" destId="{4290A0FF-8159-43C2-BC97-0359D2CE8E1B}" srcOrd="0" destOrd="0" presId="urn:microsoft.com/office/officeart/2005/8/layout/hProcess7"/>
    <dgm:cxn modelId="{289B7CBB-7092-4E3A-8625-8CB1D3E40175}" type="presParOf" srcId="{C9C9296C-71E4-434F-B3D8-6BC4835F98BD}" destId="{7EF6013A-D312-4D41-84E5-C7722414D761}" srcOrd="1" destOrd="0" presId="urn:microsoft.com/office/officeart/2005/8/layout/hProcess7"/>
    <dgm:cxn modelId="{CC5B6EE3-EF61-422E-B0A6-DF7A7C066C41}" type="presParOf" srcId="{C9C9296C-71E4-434F-B3D8-6BC4835F98BD}" destId="{C1203707-85F8-4BBB-B33E-A94DB58C46EA}" srcOrd="2" destOrd="0" presId="urn:microsoft.com/office/officeart/2005/8/layout/hProcess7"/>
    <dgm:cxn modelId="{F2EF1EA3-9690-4623-9A2D-7B78D922621D}" type="presParOf" srcId="{A8316203-4B2E-4ACA-8166-2ACDFD90F534}" destId="{6C3C4299-1822-4A2E-A2F6-5F4FD8C72E45}" srcOrd="13" destOrd="0" presId="urn:microsoft.com/office/officeart/2005/8/layout/hProcess7"/>
    <dgm:cxn modelId="{926F200D-764C-4801-96DD-C95C1D2AD09F}" type="presParOf" srcId="{A8316203-4B2E-4ACA-8166-2ACDFD90F534}" destId="{71539EDA-4445-420F-9A1A-D7F3DCA0BDB3}" srcOrd="14" destOrd="0" presId="urn:microsoft.com/office/officeart/2005/8/layout/hProcess7"/>
    <dgm:cxn modelId="{C8C47E61-E59F-4FC0-A869-CE61EB8F7915}" type="presParOf" srcId="{71539EDA-4445-420F-9A1A-D7F3DCA0BDB3}" destId="{95DB2050-1A98-45B4-8354-4E584D182252}" srcOrd="0" destOrd="0" presId="urn:microsoft.com/office/officeart/2005/8/layout/hProcess7"/>
    <dgm:cxn modelId="{73B83F50-0E26-484A-B2A8-CA941D06AD7C}" type="presParOf" srcId="{71539EDA-4445-420F-9A1A-D7F3DCA0BDB3}" destId="{31792C43-730F-4754-A61F-69D6EBF308F8}" srcOrd="1" destOrd="0" presId="urn:microsoft.com/office/officeart/2005/8/layout/hProcess7"/>
    <dgm:cxn modelId="{15DCB83B-13AB-48EB-9CC5-E5AA027F46A8}" type="presParOf" srcId="{71539EDA-4445-420F-9A1A-D7F3DCA0BDB3}" destId="{B56CF01B-71DF-4E04-AE01-B57DCF2FD88F}" srcOrd="2" destOrd="0" presId="urn:microsoft.com/office/officeart/2005/8/layout/hProcess7"/>
    <dgm:cxn modelId="{7F5DF52C-C375-43C2-A9DB-F09584BB8C99}" type="presParOf" srcId="{A8316203-4B2E-4ACA-8166-2ACDFD90F534}" destId="{D513EEEF-965D-4A01-9643-99945888B496}" srcOrd="15" destOrd="0" presId="urn:microsoft.com/office/officeart/2005/8/layout/hProcess7"/>
    <dgm:cxn modelId="{FA06B346-0A5C-4B4E-9903-CDC94710C699}" type="presParOf" srcId="{A8316203-4B2E-4ACA-8166-2ACDFD90F534}" destId="{BBBFFF61-3387-4E3F-89A5-3FFA992FC190}" srcOrd="16" destOrd="0" presId="urn:microsoft.com/office/officeart/2005/8/layout/hProcess7"/>
    <dgm:cxn modelId="{A22BFA36-D245-49DC-B195-71C926BD0983}" type="presParOf" srcId="{BBBFFF61-3387-4E3F-89A5-3FFA992FC190}" destId="{18468501-A9B2-40FD-BA57-8CAEB7B01CFB}" srcOrd="0" destOrd="0" presId="urn:microsoft.com/office/officeart/2005/8/layout/hProcess7"/>
    <dgm:cxn modelId="{60B0518F-C7B2-496C-999B-35D215756215}" type="presParOf" srcId="{BBBFFF61-3387-4E3F-89A5-3FFA992FC190}" destId="{F5A6793D-397E-407F-81AB-A83F81BD656F}" srcOrd="1" destOrd="0" presId="urn:microsoft.com/office/officeart/2005/8/layout/hProcess7"/>
    <dgm:cxn modelId="{D349A424-B157-4ED3-A5E9-ECE83F1C1771}" type="presParOf" srcId="{BBBFFF61-3387-4E3F-89A5-3FFA992FC190}" destId="{529F191E-FEF5-4AF8-A023-AC0ABDD5567B}" srcOrd="2" destOrd="0" presId="urn:microsoft.com/office/officeart/2005/8/layout/hProcess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F625FE-4B6E-476F-8B29-B9AFD4D9B733}">
      <dsp:nvSpPr>
        <dsp:cNvPr id="0" name=""/>
        <dsp:cNvSpPr/>
      </dsp:nvSpPr>
      <dsp:spPr>
        <a:xfrm>
          <a:off x="6085" y="1440752"/>
          <a:ext cx="2124722" cy="2549666"/>
        </a:xfrm>
        <a:prstGeom prst="roundRect">
          <a:avLst>
            <a:gd name="adj" fmla="val 5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51435" rIns="66675" bIns="0" numCol="1" spcCol="1270" anchor="t" anchorCtr="0">
          <a:noAutofit/>
        </a:bodyPr>
        <a:lstStyle/>
        <a:p>
          <a:pPr marL="0" lvl="0" indent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chemeClr val="tx1"/>
              </a:solidFill>
            </a:rPr>
            <a:t>Need Assessment Planning</a:t>
          </a:r>
        </a:p>
      </dsp:txBody>
      <dsp:txXfrm rot="16200000">
        <a:off x="-826805" y="2273643"/>
        <a:ext cx="2090726" cy="424944"/>
      </dsp:txXfrm>
    </dsp:sp>
    <dsp:sp modelId="{959D1404-1BAE-410F-AEB8-8361FE72E8A4}">
      <dsp:nvSpPr>
        <dsp:cNvPr id="0" name=""/>
        <dsp:cNvSpPr/>
      </dsp:nvSpPr>
      <dsp:spPr>
        <a:xfrm>
          <a:off x="431030" y="1440752"/>
          <a:ext cx="1582918" cy="2549666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8006" rIns="0" bIns="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chemeClr val="tx1"/>
              </a:solidFill>
            </a:rPr>
            <a:t>- Conduct a detailed analysis of the types of queries received by the P&amp;C team.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chemeClr val="tx1"/>
              </a:solidFill>
            </a:rPr>
            <a:t>- Define clear objectives and success metrics.</a:t>
          </a:r>
        </a:p>
      </dsp:txBody>
      <dsp:txXfrm>
        <a:off x="431030" y="1440752"/>
        <a:ext cx="1582918" cy="2549666"/>
      </dsp:txXfrm>
    </dsp:sp>
    <dsp:sp modelId="{50652E3E-F9F6-4BE3-908F-B0802A5A6226}">
      <dsp:nvSpPr>
        <dsp:cNvPr id="0" name=""/>
        <dsp:cNvSpPr/>
      </dsp:nvSpPr>
      <dsp:spPr>
        <a:xfrm>
          <a:off x="2205173" y="1440752"/>
          <a:ext cx="2124722" cy="2549666"/>
        </a:xfrm>
        <a:prstGeom prst="roundRect">
          <a:avLst>
            <a:gd name="adj" fmla="val 5000"/>
          </a:avLst>
        </a:prstGeom>
        <a:solidFill>
          <a:schemeClr val="accent6">
            <a:shade val="80000"/>
            <a:hueOff val="94119"/>
            <a:satOff val="-1934"/>
            <a:lumOff val="678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51435" rIns="66675" bIns="0" numCol="1" spcCol="1270" anchor="t" anchorCtr="0">
          <a:noAutofit/>
        </a:bodyPr>
        <a:lstStyle/>
        <a:p>
          <a:pPr marL="0" lvl="0" indent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chemeClr val="tx1"/>
              </a:solidFill>
            </a:rPr>
            <a:t> Development and Training</a:t>
          </a:r>
        </a:p>
      </dsp:txBody>
      <dsp:txXfrm rot="16200000">
        <a:off x="1372282" y="2273643"/>
        <a:ext cx="2090726" cy="424944"/>
      </dsp:txXfrm>
    </dsp:sp>
    <dsp:sp modelId="{175F34C9-CB12-4A5E-8025-C6B75D6F7FC2}">
      <dsp:nvSpPr>
        <dsp:cNvPr id="0" name=""/>
        <dsp:cNvSpPr/>
      </dsp:nvSpPr>
      <dsp:spPr>
        <a:xfrm rot="5400000">
          <a:off x="2028483" y="3466722"/>
          <a:ext cx="374626" cy="318708"/>
        </a:xfrm>
        <a:prstGeom prst="flowChartExtra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FB931F0-7A30-4783-AF0D-EDB4FD973144}">
      <dsp:nvSpPr>
        <dsp:cNvPr id="0" name=""/>
        <dsp:cNvSpPr/>
      </dsp:nvSpPr>
      <dsp:spPr>
        <a:xfrm>
          <a:off x="2630118" y="1440752"/>
          <a:ext cx="1582918" cy="2549666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8006" rIns="0" bIns="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chemeClr val="tx1"/>
              </a:solidFill>
            </a:rPr>
            <a:t>- Partner with AI developers to build the chatbot.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chemeClr val="tx1"/>
              </a:solidFill>
            </a:rPr>
            <a:t>- Gather and prepare training data from existing HR documents and queries.</a:t>
          </a:r>
        </a:p>
      </dsp:txBody>
      <dsp:txXfrm>
        <a:off x="2630118" y="1440752"/>
        <a:ext cx="1582918" cy="2549666"/>
      </dsp:txXfrm>
    </dsp:sp>
    <dsp:sp modelId="{47E6CADC-201E-4490-8A7F-E1B1CFC324BB}">
      <dsp:nvSpPr>
        <dsp:cNvPr id="0" name=""/>
        <dsp:cNvSpPr/>
      </dsp:nvSpPr>
      <dsp:spPr>
        <a:xfrm>
          <a:off x="4404261" y="1440752"/>
          <a:ext cx="2124722" cy="2549666"/>
        </a:xfrm>
        <a:prstGeom prst="roundRect">
          <a:avLst>
            <a:gd name="adj" fmla="val 5000"/>
          </a:avLst>
        </a:prstGeom>
        <a:solidFill>
          <a:schemeClr val="accent6">
            <a:shade val="80000"/>
            <a:hueOff val="188238"/>
            <a:satOff val="-3868"/>
            <a:lumOff val="1356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51435" rIns="66675" bIns="0" numCol="1" spcCol="1270" anchor="t" anchorCtr="0">
          <a:noAutofit/>
        </a:bodyPr>
        <a:lstStyle/>
        <a:p>
          <a:pPr marL="0" lvl="0" indent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chemeClr val="tx1"/>
              </a:solidFill>
            </a:rPr>
            <a:t> Testing and Feedback</a:t>
          </a:r>
        </a:p>
      </dsp:txBody>
      <dsp:txXfrm rot="16200000">
        <a:off x="3571370" y="2273643"/>
        <a:ext cx="2090726" cy="424944"/>
      </dsp:txXfrm>
    </dsp:sp>
    <dsp:sp modelId="{CF5B5970-79B9-43C6-A185-B4DC76EA8E3D}">
      <dsp:nvSpPr>
        <dsp:cNvPr id="0" name=""/>
        <dsp:cNvSpPr/>
      </dsp:nvSpPr>
      <dsp:spPr>
        <a:xfrm rot="5400000">
          <a:off x="4227571" y="3466722"/>
          <a:ext cx="374626" cy="318708"/>
        </a:xfrm>
        <a:prstGeom prst="flowChartExtra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shade val="80000"/>
              <a:hueOff val="125492"/>
              <a:satOff val="-2579"/>
              <a:lumOff val="904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5D1E29-A9CA-48F5-92FB-CC761BFAD537}">
      <dsp:nvSpPr>
        <dsp:cNvPr id="0" name=""/>
        <dsp:cNvSpPr/>
      </dsp:nvSpPr>
      <dsp:spPr>
        <a:xfrm>
          <a:off x="4829205" y="1440752"/>
          <a:ext cx="1582918" cy="2549666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8006" rIns="0" bIns="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chemeClr val="tx1"/>
              </a:solidFill>
            </a:rPr>
            <a:t>- Conduct thorough testing with a small group of P&amp;C team members.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chemeClr val="tx1"/>
              </a:solidFill>
            </a:rPr>
            <a:t>- Collect feedback and refine the tool accordingly.</a:t>
          </a:r>
        </a:p>
      </dsp:txBody>
      <dsp:txXfrm>
        <a:off x="4829205" y="1440752"/>
        <a:ext cx="1582918" cy="2549666"/>
      </dsp:txXfrm>
    </dsp:sp>
    <dsp:sp modelId="{4290A0FF-8159-43C2-BC97-0359D2CE8E1B}">
      <dsp:nvSpPr>
        <dsp:cNvPr id="0" name=""/>
        <dsp:cNvSpPr/>
      </dsp:nvSpPr>
      <dsp:spPr>
        <a:xfrm>
          <a:off x="6603348" y="1440752"/>
          <a:ext cx="2124722" cy="2549666"/>
        </a:xfrm>
        <a:prstGeom prst="roundRect">
          <a:avLst>
            <a:gd name="adj" fmla="val 5000"/>
          </a:avLst>
        </a:prstGeom>
        <a:solidFill>
          <a:schemeClr val="accent6">
            <a:shade val="80000"/>
            <a:hueOff val="282358"/>
            <a:satOff val="-5803"/>
            <a:lumOff val="2034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51435" rIns="66675" bIns="0" numCol="1" spcCol="1270" anchor="t" anchorCtr="0">
          <a:noAutofit/>
        </a:bodyPr>
        <a:lstStyle/>
        <a:p>
          <a:pPr marL="0" lvl="0" indent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chemeClr val="tx1"/>
              </a:solidFill>
            </a:rPr>
            <a:t>Deployment and Training</a:t>
          </a:r>
        </a:p>
      </dsp:txBody>
      <dsp:txXfrm rot="16200000">
        <a:off x="5770457" y="2273643"/>
        <a:ext cx="2090726" cy="424944"/>
      </dsp:txXfrm>
    </dsp:sp>
    <dsp:sp modelId="{1D71EAE4-B9BB-408B-819E-EDB7658688D1}">
      <dsp:nvSpPr>
        <dsp:cNvPr id="0" name=""/>
        <dsp:cNvSpPr/>
      </dsp:nvSpPr>
      <dsp:spPr>
        <a:xfrm rot="5400000">
          <a:off x="6426659" y="3466722"/>
          <a:ext cx="374626" cy="318708"/>
        </a:xfrm>
        <a:prstGeom prst="flowChartExtra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shade val="80000"/>
              <a:hueOff val="250984"/>
              <a:satOff val="-5158"/>
              <a:lumOff val="1808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203707-85F8-4BBB-B33E-A94DB58C46EA}">
      <dsp:nvSpPr>
        <dsp:cNvPr id="0" name=""/>
        <dsp:cNvSpPr/>
      </dsp:nvSpPr>
      <dsp:spPr>
        <a:xfrm>
          <a:off x="7028293" y="1440752"/>
          <a:ext cx="1582918" cy="2549666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8006" rIns="0" bIns="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chemeClr val="tx1"/>
              </a:solidFill>
            </a:rPr>
            <a:t>- Roll out the chatbot to the entire P&amp;C team.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chemeClr val="tx1"/>
              </a:solidFill>
            </a:rPr>
            <a:t>- Provide training sessions to ensure team members are comfortable using the tool.</a:t>
          </a:r>
        </a:p>
      </dsp:txBody>
      <dsp:txXfrm>
        <a:off x="7028293" y="1440752"/>
        <a:ext cx="1582918" cy="2549666"/>
      </dsp:txXfrm>
    </dsp:sp>
    <dsp:sp modelId="{18468501-A9B2-40FD-BA57-8CAEB7B01CFB}">
      <dsp:nvSpPr>
        <dsp:cNvPr id="0" name=""/>
        <dsp:cNvSpPr/>
      </dsp:nvSpPr>
      <dsp:spPr>
        <a:xfrm>
          <a:off x="8802436" y="1440752"/>
          <a:ext cx="2124722" cy="2549666"/>
        </a:xfrm>
        <a:prstGeom prst="roundRect">
          <a:avLst>
            <a:gd name="adj" fmla="val 5000"/>
          </a:avLst>
        </a:prstGeom>
        <a:solidFill>
          <a:schemeClr val="accent6">
            <a:shade val="80000"/>
            <a:hueOff val="376477"/>
            <a:satOff val="-7737"/>
            <a:lumOff val="2712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51435" rIns="66675" bIns="0" numCol="1" spcCol="1270" anchor="t" anchorCtr="0">
          <a:noAutofit/>
        </a:bodyPr>
        <a:lstStyle/>
        <a:p>
          <a:pPr marL="0" lvl="0" indent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chemeClr val="tx1"/>
              </a:solidFill>
            </a:rPr>
            <a:t>Evaluation and Expansion</a:t>
          </a:r>
        </a:p>
      </dsp:txBody>
      <dsp:txXfrm rot="16200000">
        <a:off x="7969545" y="2273643"/>
        <a:ext cx="2090726" cy="424944"/>
      </dsp:txXfrm>
    </dsp:sp>
    <dsp:sp modelId="{31792C43-730F-4754-A61F-69D6EBF308F8}">
      <dsp:nvSpPr>
        <dsp:cNvPr id="0" name=""/>
        <dsp:cNvSpPr/>
      </dsp:nvSpPr>
      <dsp:spPr>
        <a:xfrm rot="5400000">
          <a:off x="8625746" y="3466722"/>
          <a:ext cx="374626" cy="318708"/>
        </a:xfrm>
        <a:prstGeom prst="flowChartExtra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shade val="80000"/>
              <a:hueOff val="376477"/>
              <a:satOff val="-7737"/>
              <a:lumOff val="2712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29F191E-FEF5-4AF8-A023-AC0ABDD5567B}">
      <dsp:nvSpPr>
        <dsp:cNvPr id="0" name=""/>
        <dsp:cNvSpPr/>
      </dsp:nvSpPr>
      <dsp:spPr>
        <a:xfrm>
          <a:off x="9227381" y="1440752"/>
          <a:ext cx="1582918" cy="2549666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8006" rIns="0" bIns="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chemeClr val="tx1"/>
              </a:solidFill>
            </a:rPr>
            <a:t>- Monitor usage and performance.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chemeClr val="tx1"/>
              </a:solidFill>
            </a:rPr>
            <a:t>- Plan and implement additional features based on initial feedback and evolving needs.</a:t>
          </a:r>
        </a:p>
      </dsp:txBody>
      <dsp:txXfrm>
        <a:off x="9227381" y="1440752"/>
        <a:ext cx="1582918" cy="25496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7">
  <dgm:title val=""/>
  <dgm:desc val=""/>
  <dgm:catLst>
    <dgm:cat type="process" pri="21000"/>
    <dgm:cat type="lis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Node" refType="h"/>
      <dgm:constr type="w" for="ch" forName="compositeNode" refType="w"/>
      <dgm:constr type="w" for="ch" forName="hSp" refType="w" refFor="ch" refForName="compositeNode" fact="-0.035"/>
      <dgm:constr type="w" for="des" forName="simulatedConn" refType="w" refFor="ch" refForName="compositeNode" fact="0.15"/>
      <dgm:constr type="h" for="des" forName="simulatedConn" refType="w" refFor="des" refForName="simulatedConn"/>
      <dgm:constr type="h" for="des" forName="vSp1" refType="w" refFor="ch" refForName="compositeNode" fact="0.8"/>
      <dgm:constr type="h" for="des" forName="vSp2" refType="w" refFor="ch" refForName="compositeNode" fact="0.07"/>
      <dgm:constr type="w" for="ch" forName="vProcSp" refType="w" refFor="des" refForName="simulatedConn" op="equ"/>
      <dgm:constr type="h" for="ch" forName="vProcSp" refType="h" refFor="ch" refForName="compositeNode" op="equ"/>
      <dgm:constr type="w" for="ch" forName="sibTrans" refType="w" refFor="ch" refForName="compositeNode" fact="-0.08"/>
      <dgm:constr type="primFontSz" for="des" forName="parentNode" op="equ"/>
      <dgm:constr type="primFontSz" for="des" forName="childNode" op="equ"/>
    </dgm:constrLst>
    <dgm:ruleLst/>
    <dgm:forEach name="Name4" axis="ch" ptType="node">
      <dgm:layoutNode name="compositeNode">
        <dgm:varLst>
          <dgm:bulletEnabled val="1"/>
        </dgm:varLst>
        <dgm:alg type="composite"/>
        <dgm:choose name="Name5">
          <dgm:if name="Name6" func="var" arg="dir" op="equ" val="norm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l" for="ch" forName="bgRect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l" for="ch" forName="parentNode"/>
              <dgm:constr type="r" for="ch" forName="childNode" refType="r" refFor="ch" refForName="bgRect" fact="0.945"/>
              <dgm:constr type="h" for="ch" forName="childNode" refType="h" refFor="ch" refForName="bgRect" op="equ"/>
              <dgm:constr type="t" for="ch" forName="childNode"/>
              <dgm:constr type="l" for="ch" forName="childNode" refType="r" refFor="ch" refForName="parentNode"/>
            </dgm:constrLst>
          </dgm:if>
          <dgm:else name="Name7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r" for="ch" forName="bgRect" refType="w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r" for="ch" forName="parentNode" refType="w"/>
              <dgm:constr type="h" for="ch" forName="childNode" refType="h" refFor="ch" refForName="bgRect"/>
              <dgm:constr type="t" for="ch" forName="childNode"/>
              <dgm:constr type="r" for="ch" forName="childNode" refType="l" refFor="ch" refForName="parentNode"/>
              <dgm:constr type="l" for="ch" forName="childNode" refType="w" refFor="ch" refForName="bgRect" fact="0.055"/>
            </dgm:constrLst>
          </dgm:else>
        </dgm:choose>
        <dgm:ruleLst>
          <dgm:rule type="w" for="ch" forName="childNode" val="NaN" fact="NaN" max="30"/>
        </dgm:ruleLst>
        <dgm:layoutNode name="bgRect" styleLbl="node1">
          <dgm:alg type="sp"/>
          <dgm:shape xmlns:r="http://schemas.openxmlformats.org/officeDocument/2006/relationships" type="roundRect" r:blip="" zOrderOff="-1">
            <dgm:adjLst>
              <dgm:adj idx="1" val="0.05"/>
            </dgm:adjLst>
          </dgm:shape>
          <dgm:presOf axis="self"/>
          <dgm:constrLst/>
          <dgm:ruleLst/>
        </dgm:layoutNode>
        <dgm:layoutNode name="parentNode" styleLbl="node1">
          <dgm:varLst>
            <dgm:chMax val="0"/>
            <dgm:bulletEnabled val="1"/>
          </dgm:varLst>
          <dgm:presOf axis="self"/>
          <dgm:choose name="Name8">
            <dgm:if name="Name9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 hideGeom="1">
                <dgm:adjLst/>
              </dgm:shape>
              <dgm:constrLst>
                <dgm:constr type="primFontSz" val="65"/>
                <dgm:constr type="lMarg"/>
                <dgm:constr type="rMarg" refType="primFontSz" fact="0.35"/>
                <dgm:constr type="tMarg" refType="primFontSz" fact="0.27"/>
                <dgm:constr type="bMarg"/>
              </dgm:constrLst>
            </dgm:if>
            <dgm:else name="Name10">
              <dgm:alg type="tx">
                <dgm:param type="autoTxRot" val="grav"/>
                <dgm:param type="txAnchorVert" val="t"/>
                <dgm:param type="parTxLTRAlign" val="l"/>
                <dgm:param type="parTxRTLAlign" val="l"/>
              </dgm:alg>
              <dgm:shape xmlns:r="http://schemas.openxmlformats.org/officeDocument/2006/relationships" rot="90" type="rect" r:blip="" hideGeom="1">
                <dgm:adjLst/>
              </dgm:shape>
              <dgm:constrLst>
                <dgm:constr type="primFontSz" val="65"/>
                <dgm:constr type="lMarg" refType="primFontSz" fact="0.35"/>
                <dgm:constr type="rMarg"/>
                <dgm:constr type="tMarg" refType="primFontSz" fact="0.27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choose name="Name11">
          <dgm:if name="Name12" axis="ch" ptType="node" func="cnt" op="gte" val="1">
            <dgm:layoutNode name="childNode" styleLbl="node1" moveWith="bgRect">
              <dgm:varLst>
                <dgm:bulletEnabled val="1"/>
              </dgm:varLst>
              <dgm:alg type="tx">
                <dgm:param type="parTxLTRAlign" val="l"/>
                <dgm:param type="parTxRTLAlign" val="r"/>
                <dgm:param type="txAnchorVert" val="t"/>
              </dgm:alg>
              <dgm:shape xmlns:r="http://schemas.openxmlformats.org/officeDocument/2006/relationships" type="rect" r:blip="" hideGeom="1">
                <dgm:adjLst/>
              </dgm:shape>
              <dgm:presOf axis="des" ptType="node"/>
              <dgm:constrLst>
                <dgm:constr type="primFontSz" val="65"/>
                <dgm:constr type="lMarg"/>
                <dgm:constr type="bMarg"/>
                <dgm:constr type="tMarg" refType="primFontSz" fact="0.27"/>
                <dgm:constr type="rMarg"/>
              </dgm:constrLst>
              <dgm:ruleLst>
                <dgm:rule type="prim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h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vProcSp" moveWith="bgRec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vSp1" refType="w"/>
            <dgm:constr type="w" for="ch" forName="simulatedConn" refType="w"/>
            <dgm:constr type="w" for="ch" forName="vSp2" refType="w"/>
          </dgm:constrLst>
          <dgm:ruleLst/>
          <dgm:layoutNode name="vSp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imulatedConn" styleLbl="solidFgAcc1">
            <dgm:alg type="sp"/>
            <dgm:choose name="Name15">
              <dgm:if name="Name16" func="var" arg="dir" op="equ" val="norm">
                <dgm:shape xmlns:r="http://schemas.openxmlformats.org/officeDocument/2006/relationships" rot="90" type="flowChartExtract" r:blip="">
                  <dgm:adjLst/>
                </dgm:shape>
              </dgm:if>
              <dgm:else name="Name17">
                <dgm:shape xmlns:r="http://schemas.openxmlformats.org/officeDocument/2006/relationships" rot="-90" type="flowChartExtract" r:blip="">
                  <dgm:adjLst/>
                </dgm:shape>
              </dgm:else>
            </dgm:choose>
            <dgm:presOf/>
            <dgm:constrLst/>
            <dgm:ruleLst/>
          </dgm:layoutNode>
          <dgm:layoutNode name="vSp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798416-4FF1-4E5A-9F49-D293C24E8638}" type="datetimeFigureOut">
              <a:rPr lang="en-US" smtClean="0"/>
              <a:t>10-Jun-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D2A29D-BB0B-4413-8F94-D66064A01F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2229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543A869-D580-78CF-FB43-2FA8DFF70C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6A8F0E25-B715-D54E-83B1-B0A608158B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6060" y="645342"/>
            <a:ext cx="4763929" cy="241300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ts val="56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69084A0F-C14A-044C-B249-A508527BD48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6057" y="3244401"/>
            <a:ext cx="3856855" cy="909608"/>
          </a:xfrm>
        </p:spPr>
        <p:txBody>
          <a:bodyPr anchor="t" anchorCtr="0">
            <a:sp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2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onfidential Presentation to</a:t>
            </a:r>
            <a:br>
              <a:rPr lang="en-US"/>
            </a:br>
            <a:r>
              <a:rPr lang="en-US"/>
              <a:t>&lt;&lt;Name of meeting&gt;&gt;</a:t>
            </a:r>
            <a:br>
              <a:rPr lang="en-US"/>
            </a:br>
            <a:r>
              <a:rPr lang="en-US"/>
              <a:t>(Date)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9AB7E8A-9477-D5F6-0BDC-946599415C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1727" y="5318348"/>
            <a:ext cx="1185062" cy="95097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3FCE303-0375-6876-5D31-EF73AFA543EE}"/>
              </a:ext>
            </a:extLst>
          </p:cNvPr>
          <p:cNvSpPr txBox="1"/>
          <p:nvPr userDrawn="1"/>
        </p:nvSpPr>
        <p:spPr>
          <a:xfrm>
            <a:off x="9339942" y="5938966"/>
            <a:ext cx="2286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1800">
                <a:solidFill>
                  <a:schemeClr val="bg1"/>
                </a:solidFill>
              </a:rPr>
              <a:t>OLG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493239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D35CB94-9244-9BF8-B306-B65D7CF8312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41EA767-C3CC-C34A-9600-CD3C0C7425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6060" y="1030287"/>
            <a:ext cx="7234916" cy="2413001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ts val="56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AD0E6BF-36E0-BE01-AFE3-934312DBF25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1727" y="5318348"/>
            <a:ext cx="1185062" cy="95097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F85EEBF-2559-23DD-1711-D50E870835BB}"/>
              </a:ext>
            </a:extLst>
          </p:cNvPr>
          <p:cNvSpPr txBox="1"/>
          <p:nvPr userDrawn="1"/>
        </p:nvSpPr>
        <p:spPr>
          <a:xfrm>
            <a:off x="9339942" y="5938966"/>
            <a:ext cx="2286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1800">
                <a:solidFill>
                  <a:schemeClr val="bg1"/>
                </a:solidFill>
              </a:rPr>
              <a:t>OLG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443585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609D376-3C0E-BDB0-6039-1F02850912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41EA767-C3CC-C34A-9600-CD3C0C7425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6060" y="1030287"/>
            <a:ext cx="7234916" cy="2413001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ts val="56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AC5BA76-0698-B244-3532-C57122C8202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1727" y="5318348"/>
            <a:ext cx="1185062" cy="95097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A683387-8A07-A1E8-D4F7-BF9D57CABAB4}"/>
              </a:ext>
            </a:extLst>
          </p:cNvPr>
          <p:cNvSpPr txBox="1"/>
          <p:nvPr userDrawn="1"/>
        </p:nvSpPr>
        <p:spPr>
          <a:xfrm>
            <a:off x="9339942" y="5938966"/>
            <a:ext cx="2286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1800">
                <a:solidFill>
                  <a:schemeClr val="accent1"/>
                </a:solidFill>
              </a:rPr>
              <a:t>OLG Confidential</a:t>
            </a:r>
          </a:p>
        </p:txBody>
      </p:sp>
    </p:spTree>
    <p:extLst>
      <p:ext uri="{BB962C8B-B14F-4D97-AF65-F5344CB8AC3E}">
        <p14:creationId xmlns:p14="http://schemas.microsoft.com/office/powerpoint/2010/main" val="9304272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609D376-3C0E-BDB0-6039-1F02850912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41EA767-C3CC-C34A-9600-CD3C0C7425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6060" y="1030287"/>
            <a:ext cx="7234916" cy="2413001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ts val="56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AC5BA76-0698-B244-3532-C57122C8202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1727" y="5318348"/>
            <a:ext cx="1185062" cy="95097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A683387-8A07-A1E8-D4F7-BF9D57CABAB4}"/>
              </a:ext>
            </a:extLst>
          </p:cNvPr>
          <p:cNvSpPr txBox="1"/>
          <p:nvPr userDrawn="1"/>
        </p:nvSpPr>
        <p:spPr>
          <a:xfrm>
            <a:off x="9339942" y="5938966"/>
            <a:ext cx="2286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1800">
                <a:solidFill>
                  <a:schemeClr val="bg1"/>
                </a:solidFill>
              </a:rPr>
              <a:t>OLG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166516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609D376-3C0E-BDB0-6039-1F02850912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41EA767-C3CC-C34A-9600-CD3C0C7425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6060" y="1030287"/>
            <a:ext cx="7234916" cy="2413001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ts val="56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AC5BA76-0698-B244-3532-C57122C8202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1727" y="5318348"/>
            <a:ext cx="1185062" cy="95097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A683387-8A07-A1E8-D4F7-BF9D57CABAB4}"/>
              </a:ext>
            </a:extLst>
          </p:cNvPr>
          <p:cNvSpPr txBox="1"/>
          <p:nvPr userDrawn="1"/>
        </p:nvSpPr>
        <p:spPr>
          <a:xfrm>
            <a:off x="9339942" y="5938966"/>
            <a:ext cx="2286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1800">
                <a:solidFill>
                  <a:schemeClr val="accent1"/>
                </a:solidFill>
              </a:rPr>
              <a:t>OLG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746714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B3214BD-57AE-8A4C-91AE-2BCDD7C681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5245100" cy="6858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2DE01F-616E-C447-9E69-2F32852DCB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3386" y="1220334"/>
            <a:ext cx="11190704" cy="489644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0"/>
            </a:lvl1pPr>
            <a:lvl2pPr>
              <a:defRPr sz="1600" b="0"/>
            </a:lvl2pPr>
            <a:lvl3pPr>
              <a:defRPr sz="1600" b="0"/>
            </a:lvl3pPr>
            <a:lvl4pPr>
              <a:defRPr sz="1600" b="0"/>
            </a:lvl4pPr>
            <a:lvl5pPr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7C259C-819A-6849-B4D8-E73FCA86FA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34F5F8-7DDC-4A4A-9CC9-50D0A5C4D7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9D83C6-10F2-D56C-03CB-D138B35C311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92101" y="6088799"/>
            <a:ext cx="626715" cy="50292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434A93AE-CBA3-34D4-ADE8-3AB17309207D}"/>
              </a:ext>
            </a:extLst>
          </p:cNvPr>
          <p:cNvGrpSpPr/>
          <p:nvPr userDrawn="1"/>
        </p:nvGrpSpPr>
        <p:grpSpPr>
          <a:xfrm>
            <a:off x="10546080" y="0"/>
            <a:ext cx="1645920" cy="569742"/>
            <a:chOff x="9030884" y="0"/>
            <a:chExt cx="1645920" cy="569742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0944BF5-5694-B137-5975-28BD6DFF27A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030884" y="0"/>
              <a:ext cx="1645920" cy="569742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7209659-80AA-064B-E0FB-C2E1653804F7}"/>
                </a:ext>
              </a:extLst>
            </p:cNvPr>
            <p:cNvSpPr txBox="1"/>
            <p:nvPr/>
          </p:nvSpPr>
          <p:spPr>
            <a:xfrm>
              <a:off x="9802369" y="0"/>
              <a:ext cx="804672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</a:rPr>
                <a:t>Key Slide</a:t>
              </a:r>
            </a:p>
          </p:txBody>
        </p:sp>
      </p:grpSp>
      <p:sp>
        <p:nvSpPr>
          <p:cNvPr id="14" name="Title 3">
            <a:extLst>
              <a:ext uri="{FF2B5EF4-FFF2-40B4-BE49-F238E27FC236}">
                <a16:creationId xmlns:a16="http://schemas.microsoft.com/office/drawing/2014/main" id="{2C83B8F2-955B-472C-88DA-313D22B297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84" y="309538"/>
            <a:ext cx="11190706" cy="615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27998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B3214BD-57AE-8A4C-91AE-2BCDD7C681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5245100" cy="6858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2DE01F-616E-C447-9E69-2F32852DCB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3386" y="1220334"/>
            <a:ext cx="11190704" cy="489644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0"/>
            </a:lvl1pPr>
            <a:lvl2pPr>
              <a:defRPr sz="1600" b="0"/>
            </a:lvl2pPr>
            <a:lvl3pPr>
              <a:defRPr sz="1600" b="0"/>
            </a:lvl3pPr>
            <a:lvl4pPr>
              <a:defRPr sz="1600" b="0"/>
            </a:lvl4pPr>
            <a:lvl5pPr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7C259C-819A-6849-B4D8-E73FCA86FA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34F5F8-7DDC-4A4A-9CC9-50D0A5C4D7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271FA6C-06BC-FE42-8198-DFB24851F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84" y="309537"/>
            <a:ext cx="11303335" cy="61564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9D83C6-10F2-D56C-03CB-D138B35C311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92101" y="6088799"/>
            <a:ext cx="626715" cy="5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1532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03A70D5-1DE0-8982-A734-EE33D9FE424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5245100" cy="6858000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7DD46C0-E690-2D43-AB34-4FEE10F665D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156075" y="1220788"/>
            <a:ext cx="7588250" cy="48704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2DE01F-616E-C447-9E69-2F32852DCB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3386" y="1220334"/>
            <a:ext cx="3467469" cy="489644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DE3839A-848B-4A40-AD4C-E3AE14B4BF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DC8BF6A-7F32-AF47-9D90-2CBB15ED9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A34F5F8-7DDC-4A4A-9CC9-50D0A5C4D7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A73E0D3-8D84-A90F-77CD-445ABB6516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92101" y="6088799"/>
            <a:ext cx="626715" cy="5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272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64AD4DF-3E06-CE47-6A28-41A0386471E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5245100" cy="6858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2DE01F-616E-C447-9E69-2F32852DCB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3386" y="1220334"/>
            <a:ext cx="3467469" cy="489644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90EA401B-BD04-6644-ADDC-2AFB229C0132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159250" y="1214438"/>
            <a:ext cx="7584840" cy="487680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F39C886-C357-9347-86CF-56D59B17C3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18B3355-9F37-204E-A2F8-FB2A124754F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A34F5F8-7DDC-4A4A-9CC9-50D0A5C4D7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2948DC2-8E4E-DABC-A6E2-87F666B064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92101" y="6088799"/>
            <a:ext cx="626715" cy="5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1347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7DCAE05-11A7-6F06-6247-EA514E14DE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5245100" cy="6858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2DE01F-616E-C447-9E69-2F32852DCB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3386" y="1220334"/>
            <a:ext cx="3467469" cy="4896448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F39C886-C357-9347-86CF-56D59B17C3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18B3355-9F37-204E-A2F8-FB2A124754F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A34F5F8-7DDC-4A4A-9CC9-50D0A5C4D7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able Placeholder 9">
            <a:extLst>
              <a:ext uri="{FF2B5EF4-FFF2-40B4-BE49-F238E27FC236}">
                <a16:creationId xmlns:a16="http://schemas.microsoft.com/office/drawing/2014/main" id="{327097C0-71AA-6640-BF8B-EC7700DD14C6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4159250" y="1214438"/>
            <a:ext cx="7584840" cy="48768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F457DBA-4311-CCC4-70F2-D96318FEAE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92101" y="6088799"/>
            <a:ext cx="626715" cy="5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6720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7C259C-819A-6849-B4D8-E73FCA86FA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34F5F8-7DDC-4A4A-9CC9-50D0A5C4D7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271FA6C-06BC-FE42-8198-DFB24851F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84" y="309537"/>
            <a:ext cx="11303335" cy="61564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9D83C6-10F2-D56C-03CB-D138B35C31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2101" y="6088799"/>
            <a:ext cx="626715" cy="5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2591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4D8805C-A393-2231-DE0E-EB3DB1CCE8F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0A8851E9-37A6-5847-8B4A-B62F8A8C42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6060" y="645342"/>
            <a:ext cx="4763929" cy="241300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ts val="56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BCD5D1B-97A1-5E4E-B664-539BC744D6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6057" y="3244401"/>
            <a:ext cx="3856855" cy="909608"/>
          </a:xfrm>
        </p:spPr>
        <p:txBody>
          <a:bodyPr anchor="t" anchorCtr="0">
            <a:sp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2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onfidential Presentation to</a:t>
            </a:r>
            <a:br>
              <a:rPr lang="en-US"/>
            </a:br>
            <a:r>
              <a:rPr lang="en-US"/>
              <a:t>&lt;&lt;Name of meeting&gt;&gt;</a:t>
            </a:r>
            <a:br>
              <a:rPr lang="en-US"/>
            </a:br>
            <a:r>
              <a:rPr lang="en-US"/>
              <a:t>(Date)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A044125-138B-AC4F-CEC9-A6B23A9778C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1727" y="5318348"/>
            <a:ext cx="1185062" cy="95097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134AD6DE-80CC-F77D-621E-6C3A89581A74}"/>
              </a:ext>
            </a:extLst>
          </p:cNvPr>
          <p:cNvSpPr txBox="1"/>
          <p:nvPr userDrawn="1"/>
        </p:nvSpPr>
        <p:spPr>
          <a:xfrm>
            <a:off x="9339942" y="5938966"/>
            <a:ext cx="2286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1800">
                <a:solidFill>
                  <a:schemeClr val="bg1"/>
                </a:solidFill>
              </a:rPr>
              <a:t>OLG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01333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C521EB-D080-CF7A-F2F6-85A2E01A52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378391F-3171-0F42-99C7-F1EAEDFDF4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6060" y="645342"/>
            <a:ext cx="4763929" cy="241300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ts val="56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A29E917-B88A-F74C-BD46-84DFD89F6D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6057" y="3244401"/>
            <a:ext cx="3856855" cy="909608"/>
          </a:xfrm>
        </p:spPr>
        <p:txBody>
          <a:bodyPr anchor="t" anchorCtr="0">
            <a:sp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2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onfidential Presentation to</a:t>
            </a:r>
            <a:br>
              <a:rPr lang="en-US"/>
            </a:br>
            <a:r>
              <a:rPr lang="en-US"/>
              <a:t>&lt;&lt;Name of meeting&gt;&gt;</a:t>
            </a:r>
            <a:br>
              <a:rPr lang="en-US"/>
            </a:br>
            <a:r>
              <a:rPr lang="en-US"/>
              <a:t>(Date)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ED16469-EC6A-71B3-2A10-44DBBCF3A80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1727" y="5318348"/>
            <a:ext cx="1185062" cy="95097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21A4B06-AA3C-E18C-03E2-D019F6AF7078}"/>
              </a:ext>
            </a:extLst>
          </p:cNvPr>
          <p:cNvSpPr txBox="1"/>
          <p:nvPr userDrawn="1"/>
        </p:nvSpPr>
        <p:spPr>
          <a:xfrm>
            <a:off x="9339942" y="5938966"/>
            <a:ext cx="2286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1800">
                <a:solidFill>
                  <a:schemeClr val="bg1"/>
                </a:solidFill>
              </a:rPr>
              <a:t>OLG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735146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A547C6C-F9E9-DC94-30BA-3E5F08E216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41EA767-C3CC-C34A-9600-CD3C0C7425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6060" y="1030287"/>
            <a:ext cx="7234916" cy="2413001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ts val="56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C63356-E675-C998-9D89-280BB758211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1727" y="5318348"/>
            <a:ext cx="1185062" cy="95097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6E9631F-705E-D43B-A3B1-90D1B9F4C55E}"/>
              </a:ext>
            </a:extLst>
          </p:cNvPr>
          <p:cNvSpPr txBox="1"/>
          <p:nvPr userDrawn="1"/>
        </p:nvSpPr>
        <p:spPr>
          <a:xfrm>
            <a:off x="9339942" y="5938966"/>
            <a:ext cx="2286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1800">
                <a:solidFill>
                  <a:schemeClr val="bg1"/>
                </a:solidFill>
              </a:rPr>
              <a:t>OLG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363109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A547C6C-F9E9-DC94-30BA-3E5F08E216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41EA767-C3CC-C34A-9600-CD3C0C7425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6060" y="1030287"/>
            <a:ext cx="7234916" cy="2413001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ts val="56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C63356-E675-C998-9D89-280BB758211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1727" y="5318348"/>
            <a:ext cx="1185062" cy="95097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6E9631F-705E-D43B-A3B1-90D1B9F4C55E}"/>
              </a:ext>
            </a:extLst>
          </p:cNvPr>
          <p:cNvSpPr txBox="1"/>
          <p:nvPr userDrawn="1"/>
        </p:nvSpPr>
        <p:spPr>
          <a:xfrm>
            <a:off x="9339942" y="5938966"/>
            <a:ext cx="2286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1800">
                <a:solidFill>
                  <a:schemeClr val="bg1"/>
                </a:solidFill>
              </a:rPr>
              <a:t>OLG Confidential</a:t>
            </a:r>
          </a:p>
        </p:txBody>
      </p:sp>
    </p:spTree>
    <p:extLst>
      <p:ext uri="{BB962C8B-B14F-4D97-AF65-F5344CB8AC3E}">
        <p14:creationId xmlns:p14="http://schemas.microsoft.com/office/powerpoint/2010/main" val="8750044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A547C6C-F9E9-DC94-30BA-3E5F08E216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41EA767-C3CC-C34A-9600-CD3C0C7425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6060" y="1030287"/>
            <a:ext cx="7234916" cy="2413001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ts val="56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C63356-E675-C998-9D89-280BB758211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1727" y="5318348"/>
            <a:ext cx="1185062" cy="95097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6E9631F-705E-D43B-A3B1-90D1B9F4C55E}"/>
              </a:ext>
            </a:extLst>
          </p:cNvPr>
          <p:cNvSpPr txBox="1"/>
          <p:nvPr userDrawn="1"/>
        </p:nvSpPr>
        <p:spPr>
          <a:xfrm>
            <a:off x="9339942" y="5938966"/>
            <a:ext cx="2286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1800">
                <a:solidFill>
                  <a:schemeClr val="accent1"/>
                </a:solidFill>
              </a:rPr>
              <a:t>OLG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775546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D8F03E-3E5C-3CAB-3691-D070CEF702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41EA767-C3CC-C34A-9600-CD3C0C7425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6060" y="1030287"/>
            <a:ext cx="7234916" cy="2413001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ts val="56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92D890-F433-6694-B445-D3AF4092561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1727" y="5318348"/>
            <a:ext cx="1185062" cy="95097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2D6DB02-F116-CE13-ADB3-B3C2E1E8F0F9}"/>
              </a:ext>
            </a:extLst>
          </p:cNvPr>
          <p:cNvSpPr txBox="1"/>
          <p:nvPr userDrawn="1"/>
        </p:nvSpPr>
        <p:spPr>
          <a:xfrm>
            <a:off x="9339942" y="5938966"/>
            <a:ext cx="2286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1800">
                <a:solidFill>
                  <a:schemeClr val="bg1"/>
                </a:solidFill>
              </a:rPr>
              <a:t>OLG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315876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2CC11AA-C7D4-BDB9-0CF2-D577A29B1A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41EA767-C3CC-C34A-9600-CD3C0C7425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6060" y="1030287"/>
            <a:ext cx="7234916" cy="2413001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ts val="56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7CBD161-49A7-8449-9220-2C2D4D0940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1727" y="5318348"/>
            <a:ext cx="1185062" cy="95097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4E2C60F-D6C5-EA22-6F53-60894DED8B19}"/>
              </a:ext>
            </a:extLst>
          </p:cNvPr>
          <p:cNvSpPr txBox="1"/>
          <p:nvPr userDrawn="1"/>
        </p:nvSpPr>
        <p:spPr>
          <a:xfrm>
            <a:off x="9339942" y="5938966"/>
            <a:ext cx="2286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1800">
                <a:solidFill>
                  <a:schemeClr val="bg1"/>
                </a:solidFill>
              </a:rPr>
              <a:t>OLG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18112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2CC11AA-C7D4-BDB9-0CF2-D577A29B1A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41EA767-C3CC-C34A-9600-CD3C0C7425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6060" y="1030287"/>
            <a:ext cx="7234916" cy="2413001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ts val="5600"/>
              </a:lnSpc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7CBD161-49A7-8449-9220-2C2D4D0940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1727" y="5318348"/>
            <a:ext cx="1185062" cy="95097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4E2C60F-D6C5-EA22-6F53-60894DED8B19}"/>
              </a:ext>
            </a:extLst>
          </p:cNvPr>
          <p:cNvSpPr txBox="1"/>
          <p:nvPr userDrawn="1"/>
        </p:nvSpPr>
        <p:spPr>
          <a:xfrm>
            <a:off x="9339942" y="5938966"/>
            <a:ext cx="2286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1800">
                <a:solidFill>
                  <a:schemeClr val="accent1"/>
                </a:solidFill>
              </a:rPr>
              <a:t>OLG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39371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0EB6780-9231-4C2B-B76A-5219C724A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52466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0EB6780-9231-4C2B-B76A-5219C724A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579117-C535-4A47-BDD3-A60335E716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3384" y="1220334"/>
            <a:ext cx="11190706" cy="49566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3DC9F1-198E-FC4B-B073-ECBAAF84B7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6679" y="6356350"/>
            <a:ext cx="5374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 b="1">
                <a:solidFill>
                  <a:schemeClr val="tx1"/>
                </a:solidFill>
              </a:defRPr>
            </a:lvl1pPr>
          </a:lstStyle>
          <a:p>
            <a:fld id="{CA34F5F8-7DDC-4A4A-9CC9-50D0A5C4D7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F5A0C19C-0B18-4242-A82D-1834F27F6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84" y="309538"/>
            <a:ext cx="11190706" cy="6156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BC8944B-9460-4CBA-9BC8-23065FFEF45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70563" y="6705600"/>
            <a:ext cx="6794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LG Internal</a:t>
            </a:r>
          </a:p>
        </p:txBody>
      </p:sp>
    </p:spTree>
    <p:extLst>
      <p:ext uri="{BB962C8B-B14F-4D97-AF65-F5344CB8AC3E}">
        <p14:creationId xmlns:p14="http://schemas.microsoft.com/office/powerpoint/2010/main" val="4279609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98475" indent="-2270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58825" indent="-2254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875" indent="-2254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46188" indent="-2270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768933-15EF-1018-A257-30CD5B991B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7161" y="1832720"/>
            <a:ext cx="9829691" cy="3586101"/>
          </a:xfrm>
        </p:spPr>
        <p:txBody>
          <a:bodyPr>
            <a:normAutofit/>
          </a:bodyPr>
          <a:lstStyle/>
          <a:p>
            <a:r>
              <a:rPr lang="en-US" dirty="0"/>
              <a:t>People &amp; Cultural AI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A7078CC-F422-DB4A-0767-9F7E4B53C623}"/>
              </a:ext>
            </a:extLst>
          </p:cNvPr>
          <p:cNvSpPr txBox="1"/>
          <p:nvPr/>
        </p:nvSpPr>
        <p:spPr>
          <a:xfrm>
            <a:off x="762099" y="2897982"/>
            <a:ext cx="64111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1000"/>
              </a:spcBef>
            </a:pPr>
            <a:r>
              <a:rPr lang="en-US" sz="2000" dirty="0">
                <a:solidFill>
                  <a:schemeClr val="bg1"/>
                </a:solidFill>
              </a:rPr>
              <a:t>AI Empowering</a:t>
            </a:r>
          </a:p>
        </p:txBody>
      </p:sp>
    </p:spTree>
    <p:extLst>
      <p:ext uri="{BB962C8B-B14F-4D97-AF65-F5344CB8AC3E}">
        <p14:creationId xmlns:p14="http://schemas.microsoft.com/office/powerpoint/2010/main" val="19082663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7DC1F7C-3264-A14A-DE5E-223C3372FB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34F5F8-7DDC-4A4A-9CC9-50D0A5C4D72F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9174876-0F06-9457-157C-51A86CF0F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ing into future: Development Roadmap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B6FD0564-9557-538F-25A7-90ED1F85016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9002689"/>
              </p:ext>
            </p:extLst>
          </p:nvPr>
        </p:nvGraphicFramePr>
        <p:xfrm>
          <a:off x="810844" y="925178"/>
          <a:ext cx="10933245" cy="54311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Right Brace 5">
            <a:extLst>
              <a:ext uri="{FF2B5EF4-FFF2-40B4-BE49-F238E27FC236}">
                <a16:creationId xmlns:a16="http://schemas.microsoft.com/office/drawing/2014/main" id="{33DD44E3-F7AB-959F-C7CE-CF6C259B9B7C}"/>
              </a:ext>
            </a:extLst>
          </p:cNvPr>
          <p:cNvSpPr/>
          <p:nvPr/>
        </p:nvSpPr>
        <p:spPr>
          <a:xfrm rot="16200000">
            <a:off x="2948652" y="911506"/>
            <a:ext cx="376177" cy="2407536"/>
          </a:xfrm>
          <a:prstGeom prst="rightBrac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FF0B61-DE69-BA96-C4D7-2B4848DB3501}"/>
              </a:ext>
            </a:extLst>
          </p:cNvPr>
          <p:cNvSpPr txBox="1"/>
          <p:nvPr/>
        </p:nvSpPr>
        <p:spPr>
          <a:xfrm>
            <a:off x="2581154" y="1540819"/>
            <a:ext cx="9669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spcBef>
                <a:spcPts val="1000"/>
              </a:spcBef>
            </a:pPr>
            <a:r>
              <a:rPr lang="en-US" sz="1600" dirty="0"/>
              <a:t>Complet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5120B2E-0146-7AC5-7740-8398C95CC570}"/>
              </a:ext>
            </a:extLst>
          </p:cNvPr>
          <p:cNvCxnSpPr>
            <a:cxnSpLocks/>
            <a:endCxn id="10" idx="2"/>
          </p:cNvCxnSpPr>
          <p:nvPr/>
        </p:nvCxnSpPr>
        <p:spPr>
          <a:xfrm flipV="1">
            <a:off x="5999165" y="1927185"/>
            <a:ext cx="0" cy="3761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8125815D-3F88-A584-1C5D-5EAAFA17E514}"/>
              </a:ext>
            </a:extLst>
          </p:cNvPr>
          <p:cNvSpPr txBox="1"/>
          <p:nvPr/>
        </p:nvSpPr>
        <p:spPr>
          <a:xfrm>
            <a:off x="5464852" y="1588631"/>
            <a:ext cx="10686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spcBef>
                <a:spcPts val="1000"/>
              </a:spcBef>
            </a:pPr>
            <a:r>
              <a:rPr lang="en-US" sz="1600" dirty="0"/>
              <a:t>In Progress</a:t>
            </a:r>
          </a:p>
        </p:txBody>
      </p:sp>
    </p:spTree>
    <p:extLst>
      <p:ext uri="{BB962C8B-B14F-4D97-AF65-F5344CB8AC3E}">
        <p14:creationId xmlns:p14="http://schemas.microsoft.com/office/powerpoint/2010/main" val="7854690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A6E78AA-45B4-F54F-7DB7-978845B16A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sz="2400" dirty="0"/>
              <a:t>Business Objective 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Design &amp; Infrastructure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Benefit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AI Governance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Future Roadmap</a:t>
            </a: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ED76415-844C-E614-BC07-3F278A0D0D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1404138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B14335E-7A40-5CA0-5D22-CD04AB0E94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 proposal outlines the development and implementation of an in-house AI tool specifically designed for the People &amp; Culture (P&amp;C) Team. This AI tool aims to enhance response times and accuracy when addressing queries related to HR policies. The tool will initially function as a chatbot, providing immediate and precise answers to policy-related questions. In the future, its capabilities can be expanded to include email generation, predictive analytics, and handling general inquiries, ultimately making it accessible to all employees.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hat we want to achieve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 Increase Efficiency: Reduce the time P&amp;C team members spend on answering routine HR policy queries.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 Improve Accuracy: Ensure that responses to HR policy queries are accurate and consistent.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 Future Expansion: Lay the groundwork for future functionalities such as email generation, predictive analytics, and broadening the tool’s usage across all employees.</a:t>
            </a:r>
          </a:p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7DC1F7C-3264-A14A-DE5E-223C3372FB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34F5F8-7DDC-4A4A-9CC9-50D0A5C4D72F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9174876-0F06-9457-157C-51A86CF0F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36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usiness Objective</a:t>
            </a:r>
            <a:endParaRPr lang="en-US" sz="36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97298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ED76415-844C-E614-BC07-3F278A0D0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420" y="336170"/>
            <a:ext cx="11303335" cy="615641"/>
          </a:xfrm>
        </p:spPr>
        <p:txBody>
          <a:bodyPr/>
          <a:lstStyle/>
          <a:p>
            <a:r>
              <a:rPr lang="en-US" dirty="0"/>
              <a:t>Constructing the BRAI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451CDC5-235D-F11B-E569-D25F6568C1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8531" y="1325105"/>
            <a:ext cx="9613641" cy="4885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3654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BFA648D-9C57-9862-9DB8-D4FC4817BA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34F5F8-7DDC-4A4A-9CC9-50D0A5C4D72F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1026" name="Picture 2" descr="Cover image for A Complete Developer Guide to Vector Embeddings!">
            <a:extLst>
              <a:ext uri="{FF2B5EF4-FFF2-40B4-BE49-F238E27FC236}">
                <a16:creationId xmlns:a16="http://schemas.microsoft.com/office/drawing/2014/main" id="{ACD778D8-EC4D-C8B8-6B79-3420B0BADB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0667" y="184669"/>
            <a:ext cx="9525000" cy="400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8406D0B-F1F9-1954-46EF-BE56B78FC6AD}"/>
              </a:ext>
            </a:extLst>
          </p:cNvPr>
          <p:cNvSpPr txBox="1"/>
          <p:nvPr/>
        </p:nvSpPr>
        <p:spPr>
          <a:xfrm>
            <a:off x="711868" y="4896315"/>
            <a:ext cx="10768264" cy="12054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spcBef>
                <a:spcPts val="1000"/>
              </a:spcBef>
              <a:buFont typeface="+mj-lt"/>
              <a:buAutoNum type="arabicPeriod"/>
            </a:pPr>
            <a:r>
              <a:rPr lang="en-US" sz="1600" dirty="0"/>
              <a:t>Vector store embedding is a method of representing unstructured text data in a high-dimensional vector space, making it suitable for machine learning and AI tasks. </a:t>
            </a:r>
          </a:p>
          <a:p>
            <a:pPr marL="342900" indent="-342900" algn="l">
              <a:spcBef>
                <a:spcPts val="1000"/>
              </a:spcBef>
              <a:buFont typeface="+mj-lt"/>
              <a:buAutoNum type="arabicPeriod"/>
            </a:pPr>
            <a:r>
              <a:rPr lang="en-US" sz="1600" dirty="0"/>
              <a:t>Then we facilitates the storage and retrieval of data in a way that makes it easy to perform similarity searches, clustering, and other analyses.</a:t>
            </a:r>
          </a:p>
        </p:txBody>
      </p:sp>
    </p:spTree>
    <p:extLst>
      <p:ext uri="{BB962C8B-B14F-4D97-AF65-F5344CB8AC3E}">
        <p14:creationId xmlns:p14="http://schemas.microsoft.com/office/powerpoint/2010/main" val="35642832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BFA648D-9C57-9862-9DB8-D4FC4817BA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34F5F8-7DDC-4A4A-9CC9-50D0A5C4D72F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406D0B-F1F9-1954-46EF-BE56B78FC6AD}"/>
              </a:ext>
            </a:extLst>
          </p:cNvPr>
          <p:cNvSpPr txBox="1"/>
          <p:nvPr/>
        </p:nvSpPr>
        <p:spPr>
          <a:xfrm>
            <a:off x="7363326" y="3265602"/>
            <a:ext cx="438076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1000"/>
              </a:spcBef>
            </a:pPr>
            <a:r>
              <a:rPr lang="en-US" sz="1600" dirty="0"/>
              <a:t>Semantic search is a search technique that understands the meaning and context of search queries rather than relying solely on keyword matches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762B979-87CC-25D1-847D-11AF05B6BD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584" y="1507360"/>
            <a:ext cx="6607342" cy="4997149"/>
          </a:xfrm>
          <a:prstGeom prst="rect">
            <a:avLst/>
          </a:prstGeom>
        </p:spPr>
      </p:pic>
      <p:sp>
        <p:nvSpPr>
          <p:cNvPr id="4" name="Title 5">
            <a:extLst>
              <a:ext uri="{FF2B5EF4-FFF2-40B4-BE49-F238E27FC236}">
                <a16:creationId xmlns:a16="http://schemas.microsoft.com/office/drawing/2014/main" id="{EE90E633-1F45-DCCB-AEEB-51353C3A0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420" y="336170"/>
            <a:ext cx="11303335" cy="615641"/>
          </a:xfrm>
        </p:spPr>
        <p:txBody>
          <a:bodyPr/>
          <a:lstStyle/>
          <a:p>
            <a:r>
              <a:rPr lang="en-US" dirty="0"/>
              <a:t>What is Semantic Search</a:t>
            </a:r>
          </a:p>
        </p:txBody>
      </p:sp>
    </p:spTree>
    <p:extLst>
      <p:ext uri="{BB962C8B-B14F-4D97-AF65-F5344CB8AC3E}">
        <p14:creationId xmlns:p14="http://schemas.microsoft.com/office/powerpoint/2010/main" val="107753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ED76415-844C-E614-BC07-3F278A0D0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420" y="336170"/>
            <a:ext cx="11303335" cy="615641"/>
          </a:xfrm>
        </p:spPr>
        <p:txBody>
          <a:bodyPr/>
          <a:lstStyle/>
          <a:p>
            <a:r>
              <a:rPr lang="en-US" dirty="0"/>
              <a:t>Sample Resul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4106F0C-6B13-2B14-F3B8-00259CA864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7687" y="1101102"/>
            <a:ext cx="6219825" cy="50673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A7329C1-57BD-7113-38A5-5E0AE4C5DCB7}"/>
              </a:ext>
            </a:extLst>
          </p:cNvPr>
          <p:cNvSpPr txBox="1"/>
          <p:nvPr/>
        </p:nvSpPr>
        <p:spPr>
          <a:xfrm>
            <a:off x="6767512" y="2812450"/>
            <a:ext cx="4789715" cy="9592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Can interpret questions and retrieve information automatically</a:t>
            </a:r>
          </a:p>
          <a:p>
            <a:pPr marL="285750" indent="-285750" algn="l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Accept grammar error</a:t>
            </a:r>
          </a:p>
        </p:txBody>
      </p:sp>
    </p:spTree>
    <p:extLst>
      <p:ext uri="{BB962C8B-B14F-4D97-AF65-F5344CB8AC3E}">
        <p14:creationId xmlns:p14="http://schemas.microsoft.com/office/powerpoint/2010/main" val="29380686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B14335E-7A40-5CA0-5D22-CD04AB0E94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mmediate Benefits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1. Time Savings: Automating responses to routine queries will allow P&amp;C team members to focus on more strategic tasks.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2. Consistency: Standardized responses to HR policy questions will ensure uniformity and reduce the risk of misinformation.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3. Accessibility: A chatbot can provide 24/7 support, enabling employees to get answers outside of regular office hours.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ong-term Benefits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1. Scalability: The AI tool can evolve to handle more complex inquiries and tasks, such as generating emails and performing predictive analytics.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2. Employee Satisfaction: Quick and accurate responses to HR queries can improve overall employee satisfaction and reduce frustration.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3. Data Insights: The tool can collect and analyze data on frequently asked questions, providing insights for policy improvements and training needs.</a:t>
            </a:r>
          </a:p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7DC1F7C-3264-A14A-DE5E-223C3372FB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34F5F8-7DDC-4A4A-9CC9-50D0A5C4D72F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9174876-0F06-9457-157C-51A86CF0F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can OLG benefit from P&amp;C AI</a:t>
            </a:r>
          </a:p>
        </p:txBody>
      </p:sp>
    </p:spTree>
    <p:extLst>
      <p:ext uri="{BB962C8B-B14F-4D97-AF65-F5344CB8AC3E}">
        <p14:creationId xmlns:p14="http://schemas.microsoft.com/office/powerpoint/2010/main" val="22478403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7DC1F7C-3264-A14A-DE5E-223C3372FB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34F5F8-7DDC-4A4A-9CC9-50D0A5C4D72F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9174876-0F06-9457-157C-51A86CF0F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I Governance: Mitigating potential risk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16248B9-7FA9-ECF4-26C3-87AEEEC699F7}"/>
              </a:ext>
            </a:extLst>
          </p:cNvPr>
          <p:cNvSpPr txBox="1">
            <a:spLocks/>
          </p:cNvSpPr>
          <p:nvPr/>
        </p:nvSpPr>
        <p:spPr>
          <a:xfrm>
            <a:off x="11206679" y="6356350"/>
            <a:ext cx="5374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A34F5F8-7DDC-4A4A-9CC9-50D0A5C4D72F}" type="slidenum">
              <a:rPr lang="en-US" smtClean="0"/>
              <a:pPr/>
              <a:t>9</a:t>
            </a:fld>
            <a:endParaRPr lang="en-US"/>
          </a:p>
        </p:txBody>
      </p:sp>
      <p:graphicFrame>
        <p:nvGraphicFramePr>
          <p:cNvPr id="14" name="Table 14">
            <a:extLst>
              <a:ext uri="{FF2B5EF4-FFF2-40B4-BE49-F238E27FC236}">
                <a16:creationId xmlns:a16="http://schemas.microsoft.com/office/drawing/2014/main" id="{41ACC294-EF25-A6A4-3234-BC602C7A3F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3989542"/>
              </p:ext>
            </p:extLst>
          </p:nvPr>
        </p:nvGraphicFramePr>
        <p:xfrm>
          <a:off x="553384" y="1476375"/>
          <a:ext cx="10229850" cy="43148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4925">
                  <a:extLst>
                    <a:ext uri="{9D8B030D-6E8A-4147-A177-3AD203B41FA5}">
                      <a16:colId xmlns:a16="http://schemas.microsoft.com/office/drawing/2014/main" val="1154756063"/>
                    </a:ext>
                  </a:extLst>
                </a:gridCol>
                <a:gridCol w="5114925">
                  <a:extLst>
                    <a:ext uri="{9D8B030D-6E8A-4147-A177-3AD203B41FA5}">
                      <a16:colId xmlns:a16="http://schemas.microsoft.com/office/drawing/2014/main" val="2327229857"/>
                    </a:ext>
                  </a:extLst>
                </a:gridCol>
              </a:tblGrid>
              <a:tr h="862965">
                <a:tc>
                  <a:txBody>
                    <a:bodyPr/>
                    <a:lstStyle/>
                    <a:p>
                      <a:r>
                        <a:rPr lang="en-US" dirty="0"/>
                        <a:t>Potential AI Risk identified by DIRA (Data Impact Risk Assessmen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&amp;C AI Solu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4674565"/>
                  </a:ext>
                </a:extLst>
              </a:tr>
              <a:tr h="8629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predictable outputs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round Answer within provided documents.</a:t>
                      </a:r>
                    </a:p>
                    <a:p>
                      <a:r>
                        <a:rPr lang="en-US" dirty="0"/>
                        <a:t>No hallucin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4619983"/>
                  </a:ext>
                </a:extLst>
              </a:tr>
              <a:tr h="8629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Lack of transparency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 house developed framework allows for full transparency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5114354"/>
                  </a:ext>
                </a:extLst>
              </a:tr>
              <a:tr h="8629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Bias and discrimination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 infers allowed by design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880058"/>
                  </a:ext>
                </a:extLst>
              </a:tr>
              <a:tr h="8629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Privacy &amp; Security Concerns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ta stored in OLG owned private server.</a:t>
                      </a:r>
                    </a:p>
                    <a:p>
                      <a:r>
                        <a:rPr lang="en-US" dirty="0"/>
                        <a:t>Security log in through App portal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09849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54629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LG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3C71"/>
      </a:accent1>
      <a:accent2>
        <a:srgbClr val="0071CE"/>
      </a:accent2>
      <a:accent3>
        <a:srgbClr val="FED924"/>
      </a:accent3>
      <a:accent4>
        <a:srgbClr val="E3002B"/>
      </a:accent4>
      <a:accent5>
        <a:srgbClr val="66CEF6"/>
      </a:accent5>
      <a:accent6>
        <a:srgbClr val="8DC63F"/>
      </a:accent6>
      <a:hlink>
        <a:srgbClr val="0563C1"/>
      </a:hlink>
      <a:folHlink>
        <a:srgbClr val="954F72"/>
      </a:folHlink>
    </a:clrScheme>
    <a:fontScheme name="Tw Cen MT">
      <a:majorFont>
        <a:latin typeface="Tw Cen MT" panose="020B0602020104020603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spcBef>
            <a:spcPts val="1000"/>
          </a:spcBef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LG-PPT-Template-lt-blue.pptx" id="{AB4B2607-5D67-46A7-94E0-9A27DF3A05E6}" vid="{E9E62336-3381-4430-B36F-782E9C7BA56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d462137-0310-4561-87f9-e31daf09137a">
      <UserInfo>
        <DisplayName>Sasha Fay</DisplayName>
        <AccountId>299</AccountId>
        <AccountType/>
      </UserInfo>
    </SharedWithUsers>
    <lcf76f155ced4ddcb4097134ff3c332f xmlns="16186086-83de-4875-af4a-8d2685af317f">
      <Terms xmlns="http://schemas.microsoft.com/office/infopath/2007/PartnerControls"/>
    </lcf76f155ced4ddcb4097134ff3c332f>
    <TaxCatchAll xmlns="3d462137-0310-4561-87f9-e31daf09137a" xsi:nil="true"/>
    <Order0 xmlns="16186086-83de-4875-af4a-8d2685af317f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5EE66658740E46912CB3B9CBCA7012" ma:contentTypeVersion="20" ma:contentTypeDescription="Create a new document." ma:contentTypeScope="" ma:versionID="8a5b30e9c2794d84681c503e97d1503e">
  <xsd:schema xmlns:xsd="http://www.w3.org/2001/XMLSchema" xmlns:xs="http://www.w3.org/2001/XMLSchema" xmlns:p="http://schemas.microsoft.com/office/2006/metadata/properties" xmlns:ns2="16186086-83de-4875-af4a-8d2685af317f" xmlns:ns3="3d462137-0310-4561-87f9-e31daf09137a" targetNamespace="http://schemas.microsoft.com/office/2006/metadata/properties" ma:root="true" ma:fieldsID="0a48a9fd706fae18e2c9568c579359d5" ns2:_="" ns3:_="">
    <xsd:import namespace="16186086-83de-4875-af4a-8d2685af317f"/>
    <xsd:import namespace="3d462137-0310-4561-87f9-e31daf09137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Order0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186086-83de-4875-af4a-8d2685af31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915559b9-0eb0-4a9f-aa1d-a1f27440475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Order0" ma:index="23" nillable="true" ma:displayName="Order" ma:format="Dropdown" ma:internalName="Order0" ma:percentage="FALSE">
      <xsd:simpleType>
        <xsd:restriction base="dms:Number"/>
      </xsd:simpleType>
    </xsd:element>
    <xsd:element name="MediaServiceOCR" ma:index="2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462137-0310-4561-87f9-e31daf09137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896a9a17-6288-457f-8e43-a77220a70720}" ma:internalName="TaxCatchAll" ma:showField="CatchAllData" ma:web="3d462137-0310-4561-87f9-e31daf09137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713C946-7AEB-469A-ABCE-0C9A33FC0BB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0784BB4-ED36-4360-AEF6-2AC49819DA7B}">
  <ds:schemaRefs>
    <ds:schemaRef ds:uri="16186086-83de-4875-af4a-8d2685af317f"/>
    <ds:schemaRef ds:uri="3d462137-0310-4561-87f9-e31daf09137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E3438B7-90BE-477B-B2EB-14D1BDC51610}">
  <ds:schemaRefs>
    <ds:schemaRef ds:uri="16186086-83de-4875-af4a-8d2685af317f"/>
    <ds:schemaRef ds:uri="3d462137-0310-4561-87f9-e31daf09137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70</TotalTime>
  <Words>658</Words>
  <Application>Microsoft Office PowerPoint</Application>
  <PresentationFormat>Widescreen</PresentationFormat>
  <Paragraphs>74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Tw Cen MT</vt:lpstr>
      <vt:lpstr>1_Office Theme</vt:lpstr>
      <vt:lpstr>think-cell Slide</vt:lpstr>
      <vt:lpstr>People &amp; Cultural AI</vt:lpstr>
      <vt:lpstr>Agenda</vt:lpstr>
      <vt:lpstr>Business Objective</vt:lpstr>
      <vt:lpstr>Constructing the BRAIN</vt:lpstr>
      <vt:lpstr>PowerPoint Presentation</vt:lpstr>
      <vt:lpstr>What is Semantic Search</vt:lpstr>
      <vt:lpstr>Sample Result</vt:lpstr>
      <vt:lpstr>How can OLG benefit from P&amp;C AI</vt:lpstr>
      <vt:lpstr>AI Governance: Mitigating potential risk</vt:lpstr>
      <vt:lpstr>Looking into future: Development Roadma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I project timeline</dc:title>
  <dc:creator>Yu Feng</dc:creator>
  <cp:lastModifiedBy>Yu Feng</cp:lastModifiedBy>
  <cp:revision>6</cp:revision>
  <dcterms:created xsi:type="dcterms:W3CDTF">2024-05-29T19:09:53Z</dcterms:created>
  <dcterms:modified xsi:type="dcterms:W3CDTF">2024-06-10T17:13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24bf6bc-80d5-4ab0-9d27-711a9be2166e_Enabled">
    <vt:lpwstr>true</vt:lpwstr>
  </property>
  <property fmtid="{D5CDD505-2E9C-101B-9397-08002B2CF9AE}" pid="3" name="MSIP_Label_124bf6bc-80d5-4ab0-9d27-711a9be2166e_SetDate">
    <vt:lpwstr>2024-05-29T19:10:02Z</vt:lpwstr>
  </property>
  <property fmtid="{D5CDD505-2E9C-101B-9397-08002B2CF9AE}" pid="4" name="MSIP_Label_124bf6bc-80d5-4ab0-9d27-711a9be2166e_Method">
    <vt:lpwstr>Standard</vt:lpwstr>
  </property>
  <property fmtid="{D5CDD505-2E9C-101B-9397-08002B2CF9AE}" pid="5" name="MSIP_Label_124bf6bc-80d5-4ab0-9d27-711a9be2166e_Name">
    <vt:lpwstr>124bf6bc-80d5-4ab0-9d27-711a9be2166e</vt:lpwstr>
  </property>
  <property fmtid="{D5CDD505-2E9C-101B-9397-08002B2CF9AE}" pid="6" name="MSIP_Label_124bf6bc-80d5-4ab0-9d27-711a9be2166e_SiteId">
    <vt:lpwstr>f271d9b4-e54c-46e1-82bd-25d50afa3779</vt:lpwstr>
  </property>
  <property fmtid="{D5CDD505-2E9C-101B-9397-08002B2CF9AE}" pid="7" name="MSIP_Label_124bf6bc-80d5-4ab0-9d27-711a9be2166e_ActionId">
    <vt:lpwstr>c3cfbc13-53d2-4d76-8146-d380151a8937</vt:lpwstr>
  </property>
  <property fmtid="{D5CDD505-2E9C-101B-9397-08002B2CF9AE}" pid="8" name="MSIP_Label_124bf6bc-80d5-4ab0-9d27-711a9be2166e_ContentBits">
    <vt:lpwstr>2</vt:lpwstr>
  </property>
  <property fmtid="{D5CDD505-2E9C-101B-9397-08002B2CF9AE}" pid="9" name="ClassificationContentMarkingFooterLocations">
    <vt:lpwstr>Office Theme:8</vt:lpwstr>
  </property>
  <property fmtid="{D5CDD505-2E9C-101B-9397-08002B2CF9AE}" pid="10" name="ClassificationContentMarkingFooterText">
    <vt:lpwstr>OLG Internal</vt:lpwstr>
  </property>
  <property fmtid="{D5CDD505-2E9C-101B-9397-08002B2CF9AE}" pid="11" name="ContentTypeId">
    <vt:lpwstr>0x010100135EE66658740E46912CB3B9CBCA7012</vt:lpwstr>
  </property>
  <property fmtid="{D5CDD505-2E9C-101B-9397-08002B2CF9AE}" pid="12" name="MediaServiceImageTags">
    <vt:lpwstr/>
  </property>
</Properties>
</file>